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80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8" r:id="rId2"/>
    <p:sldId id="257" r:id="rId3"/>
    <p:sldId id="261" r:id="rId4"/>
    <p:sldId id="272" r:id="rId5"/>
    <p:sldId id="278" r:id="rId6"/>
    <p:sldId id="280" r:id="rId7"/>
    <p:sldId id="281" r:id="rId8"/>
    <p:sldId id="284" r:id="rId9"/>
    <p:sldId id="285" r:id="rId10"/>
    <p:sldId id="286" r:id="rId11"/>
    <p:sldId id="287" r:id="rId12"/>
    <p:sldId id="288" r:id="rId13"/>
  </p:sldIdLst>
  <p:sldSz cx="9144000" cy="6858000" type="screen4x3"/>
  <p:notesSz cx="6858000" cy="9144000"/>
  <p:custDataLst>
    <p:tags r:id="rId15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294" y="138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11,68 Km de Segunda Calzada 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E4AA417C-E914-4846-AEC7-768C4C912DE7}" type="presOf" srcId="{3256AD19-79D9-4DD2-BD85-48D74080CB17}" destId="{FFC2669E-6EFE-4306-9BF4-0E6FE39D4B43}" srcOrd="0" destOrd="0" presId="urn:microsoft.com/office/officeart/2005/8/layout/hList1"/>
    <dgm:cxn modelId="{382E7A39-A55F-4919-900F-32EB4F5817F6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74CC33F-1007-4A1A-B734-2A634A1173A1}" type="presOf" srcId="{CF84DDC2-96BF-432F-AA37-B7281110F630}" destId="{351DADD5-826D-416B-84E5-26678C386891}" srcOrd="0" destOrd="0" presId="urn:microsoft.com/office/officeart/2005/8/layout/hList1"/>
    <dgm:cxn modelId="{BEB97250-37D3-4A83-8509-35B6E4876C9C}" type="presParOf" srcId="{351DADD5-826D-416B-84E5-26678C386891}" destId="{78A07495-0AF3-45E3-8386-C0DF5FF5E438}" srcOrd="0" destOrd="0" presId="urn:microsoft.com/office/officeart/2005/8/layout/hList1"/>
    <dgm:cxn modelId="{8AD2C4C2-88D9-4DA1-9F66-539E29F9DF2C}" type="presParOf" srcId="{78A07495-0AF3-45E3-8386-C0DF5FF5E438}" destId="{FFC2669E-6EFE-4306-9BF4-0E6FE39D4B43}" srcOrd="0" destOrd="0" presId="urn:microsoft.com/office/officeart/2005/8/layout/hList1"/>
    <dgm:cxn modelId="{7A5E2605-A38D-4B06-9760-57F2E366EC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MX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11,2 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AC413095-5CF3-4298-8FBC-4A453F5B3D15}">
      <dgm:prSet/>
      <dgm:spPr/>
      <dgm:t>
        <a:bodyPr/>
        <a:lstStyle/>
        <a:p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Intersección a desnivel de El Maizal: 100%.</a:t>
          </a:r>
          <a:endParaRPr lang="es-ES" dirty="0"/>
        </a:p>
      </dgm:t>
    </dgm:pt>
    <dgm:pt modelId="{BE88F98C-0E66-412D-98F0-22748A3E57DE}" type="parTrans" cxnId="{0AA550E3-B5C3-4782-9758-F6B311CB9112}">
      <dgm:prSet/>
      <dgm:spPr/>
      <dgm:t>
        <a:bodyPr/>
        <a:lstStyle/>
        <a:p>
          <a:endParaRPr lang="es-ES"/>
        </a:p>
      </dgm:t>
    </dgm:pt>
    <dgm:pt modelId="{B08B702E-C988-4003-A2CB-5BD90383939D}" type="sibTrans" cxnId="{0AA550E3-B5C3-4782-9758-F6B311CB9112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331" custLinFactNeighborY="2392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894" custLinFactNeighborY="-1482">
        <dgm:presLayoutVars>
          <dgm:bulletEnabled val="1"/>
        </dgm:presLayoutVars>
      </dgm:prSet>
      <dgm:spPr/>
    </dgm:pt>
  </dgm:ptLst>
  <dgm:cxnLst>
    <dgm:cxn modelId="{446D60F0-44D4-4D85-8237-1BBF8CC1292E}" type="presOf" srcId="{62D32E80-FEA0-48C5-B4F3-D3A7B382CF4D}" destId="{AB09D624-FF1B-4987-8110-30D214096F41}" srcOrd="0" destOrd="0" presId="urn:microsoft.com/office/officeart/2005/8/layout/hList1"/>
    <dgm:cxn modelId="{3B8DE416-E26E-4C08-96C2-1C83A717632D}" type="presOf" srcId="{3256AD19-79D9-4DD2-BD85-48D74080CB17}" destId="{FFC2669E-6EFE-4306-9BF4-0E6FE39D4B43}" srcOrd="0" destOrd="0" presId="urn:microsoft.com/office/officeart/2005/8/layout/hList1"/>
    <dgm:cxn modelId="{A5382B16-FC44-4F4F-BDEC-0F9F5A91997D}" type="presOf" srcId="{AC413095-5CF3-4298-8FBC-4A453F5B3D15}" destId="{AB09D624-FF1B-4987-8110-30D214096F41}" srcOrd="0" destOrd="1" presId="urn:microsoft.com/office/officeart/2005/8/layout/hList1"/>
    <dgm:cxn modelId="{0AA550E3-B5C3-4782-9758-F6B311CB9112}" srcId="{3256AD19-79D9-4DD2-BD85-48D74080CB17}" destId="{AC413095-5CF3-4298-8FBC-4A453F5B3D15}" srcOrd="1" destOrd="0" parTransId="{BE88F98C-0E66-412D-98F0-22748A3E57DE}" sibTransId="{B08B702E-C988-4003-A2CB-5BD90383939D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1CAEBA67-4AA3-4F09-A01D-82B864562D13}" type="presOf" srcId="{CF84DDC2-96BF-432F-AA37-B7281110F630}" destId="{351DADD5-826D-416B-84E5-26678C386891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40C7DE5-8D32-45EF-950A-AC22A9220E87}" type="presParOf" srcId="{351DADD5-826D-416B-84E5-26678C386891}" destId="{78A07495-0AF3-45E3-8386-C0DF5FF5E438}" srcOrd="0" destOrd="0" presId="urn:microsoft.com/office/officeart/2005/8/layout/hList1"/>
    <dgm:cxn modelId="{B3D0C98A-3DC2-4E81-A6C6-E0110FC03FEF}" type="presParOf" srcId="{78A07495-0AF3-45E3-8386-C0DF5FF5E438}" destId="{FFC2669E-6EFE-4306-9BF4-0E6FE39D4B43}" srcOrd="0" destOrd="0" presId="urn:microsoft.com/office/officeart/2005/8/layout/hList1"/>
    <dgm:cxn modelId="{64CE1C28-69ED-443C-B3BE-E08094FD88F9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961B001-B5B3-43A8-8285-9E5ADE3B166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77D4AE11-5503-4405-8103-15FDC7ED7A1F}">
      <dgm:prSet phldrT="[Texto]" custT="1"/>
      <dgm:spPr/>
      <dgm:t>
        <a:bodyPr/>
        <a:lstStyle/>
        <a:p>
          <a:r>
            <a:rPr lang="es-CO" sz="1600" i="0" dirty="0">
              <a:solidFill>
                <a:schemeClr val="tx1"/>
              </a:solidFill>
            </a:rPr>
            <a:t>Construcción </a:t>
          </a:r>
        </a:p>
        <a:p>
          <a:r>
            <a:rPr lang="es-CO" sz="1600" i="0" dirty="0">
              <a:solidFill>
                <a:schemeClr val="tx1"/>
              </a:solidFill>
            </a:rPr>
            <a:t>Doble Calzada</a:t>
          </a:r>
        </a:p>
      </dgm:t>
    </dgm:pt>
    <dgm:pt modelId="{505AA9A9-285E-4CE9-9774-3720EA0C35F1}" type="parTrans" cxnId="{186BFD2E-AE0A-43B4-86CA-FC2164F1C3A8}">
      <dgm:prSet/>
      <dgm:spPr/>
      <dgm:t>
        <a:bodyPr/>
        <a:lstStyle/>
        <a:p>
          <a:endParaRPr lang="es-CO"/>
        </a:p>
      </dgm:t>
    </dgm:pt>
    <dgm:pt modelId="{58B2DC6B-46C7-4831-A0CD-CFCA1BEFCDAD}" type="sibTrans" cxnId="{186BFD2E-AE0A-43B4-86CA-FC2164F1C3A8}">
      <dgm:prSet/>
      <dgm:spPr/>
      <dgm:t>
        <a:bodyPr/>
        <a:lstStyle/>
        <a:p>
          <a:endParaRPr lang="es-CO"/>
        </a:p>
      </dgm:t>
    </dgm:pt>
    <dgm:pt modelId="{6BF04080-35EC-4891-BC25-7F8BAC63FD19}">
      <dgm:prSet phldrT="[Texto]"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Meta: 12 km </a:t>
          </a:r>
        </a:p>
      </dgm:t>
    </dgm:pt>
    <dgm:pt modelId="{AB3766A4-58EE-459A-9AED-974E2D834207}" type="parTrans" cxnId="{11624BBA-251A-4A6E-A345-C56547F4440F}">
      <dgm:prSet/>
      <dgm:spPr/>
      <dgm:t>
        <a:bodyPr/>
        <a:lstStyle/>
        <a:p>
          <a:endParaRPr lang="es-CO"/>
        </a:p>
      </dgm:t>
    </dgm:pt>
    <dgm:pt modelId="{AB3F1BF7-3D60-4FA3-A5E7-70DAE7F88414}" type="sibTrans" cxnId="{11624BBA-251A-4A6E-A345-C56547F4440F}">
      <dgm:prSet/>
      <dgm:spPr/>
      <dgm:t>
        <a:bodyPr/>
        <a:lstStyle/>
        <a:p>
          <a:endParaRPr lang="es-CO"/>
        </a:p>
      </dgm:t>
    </dgm:pt>
    <dgm:pt modelId="{E0C296A7-8C77-4FAB-AE1D-33CC5ECEE752}">
      <dgm:prSet phldrT="[Texto]" custT="1"/>
      <dgm:spPr/>
      <dgm:t>
        <a:bodyPr/>
        <a:lstStyle/>
        <a:p>
          <a:r>
            <a:rPr lang="es-CO" sz="1600" dirty="0">
              <a:solidFill>
                <a:schemeClr val="tx1"/>
              </a:solidFill>
            </a:rPr>
            <a:t>Construcción</a:t>
          </a:r>
        </a:p>
        <a:p>
          <a:r>
            <a:rPr lang="es-CO" sz="1600" dirty="0">
              <a:solidFill>
                <a:schemeClr val="tx1"/>
              </a:solidFill>
            </a:rPr>
            <a:t>Calzada Sencilla</a:t>
          </a:r>
        </a:p>
      </dgm:t>
    </dgm:pt>
    <dgm:pt modelId="{37AA76DA-B536-4719-B5B6-D64FE0F252EE}" type="parTrans" cxnId="{CFEB35BA-6F18-4FF8-86B2-66F49635400F}">
      <dgm:prSet/>
      <dgm:spPr/>
      <dgm:t>
        <a:bodyPr/>
        <a:lstStyle/>
        <a:p>
          <a:endParaRPr lang="es-CO"/>
        </a:p>
      </dgm:t>
    </dgm:pt>
    <dgm:pt modelId="{7E39D257-4C85-4A36-8277-64384CCF2498}" type="sibTrans" cxnId="{CFEB35BA-6F18-4FF8-86B2-66F49635400F}">
      <dgm:prSet/>
      <dgm:spPr/>
      <dgm:t>
        <a:bodyPr/>
        <a:lstStyle/>
        <a:p>
          <a:endParaRPr lang="es-CO"/>
        </a:p>
      </dgm:t>
    </dgm:pt>
    <dgm:pt modelId="{2B0AD8A8-E115-4A10-850E-896CEF17F3E6}">
      <dgm:prSet phldrT="[Texto]"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Meta: 25,54km</a:t>
          </a:r>
        </a:p>
      </dgm:t>
    </dgm:pt>
    <dgm:pt modelId="{79CAD57B-E6A2-4860-9D6D-A7F9CB0B28E2}" type="parTrans" cxnId="{E1D3098A-A2A9-409F-881D-4636286C8CC5}">
      <dgm:prSet/>
      <dgm:spPr/>
      <dgm:t>
        <a:bodyPr/>
        <a:lstStyle/>
        <a:p>
          <a:endParaRPr lang="es-CO"/>
        </a:p>
      </dgm:t>
    </dgm:pt>
    <dgm:pt modelId="{9846D59A-7140-4E5A-BBE8-F3DD4C88FFAD}" type="sibTrans" cxnId="{E1D3098A-A2A9-409F-881D-4636286C8CC5}">
      <dgm:prSet/>
      <dgm:spPr/>
      <dgm:t>
        <a:bodyPr/>
        <a:lstStyle/>
        <a:p>
          <a:endParaRPr lang="es-CO"/>
        </a:p>
      </dgm:t>
    </dgm:pt>
    <dgm:pt modelId="{D242DB36-1B95-4BA9-9CE6-80DC80C48099}">
      <dgm:prSet phldrT="[Texto]" custT="1"/>
      <dgm:spPr/>
      <dgm:t>
        <a:bodyPr/>
        <a:lstStyle/>
        <a:p>
          <a:r>
            <a:rPr lang="es-CO" sz="1600" dirty="0">
              <a:solidFill>
                <a:schemeClr val="tx1"/>
              </a:solidFill>
            </a:rPr>
            <a:t>Mejoramiento y Rehabilitación</a:t>
          </a:r>
        </a:p>
      </dgm:t>
    </dgm:pt>
    <dgm:pt modelId="{865D8D61-2144-4152-A6FC-5A1BA7F2C160}" type="sibTrans" cxnId="{6B51ADDF-270C-4F2B-8D8F-5DA177BC4800}">
      <dgm:prSet/>
      <dgm:spPr/>
      <dgm:t>
        <a:bodyPr/>
        <a:lstStyle/>
        <a:p>
          <a:endParaRPr lang="es-CO"/>
        </a:p>
      </dgm:t>
    </dgm:pt>
    <dgm:pt modelId="{E679C600-FA52-4FA5-9E75-D7AE290884F3}" type="parTrans" cxnId="{6B51ADDF-270C-4F2B-8D8F-5DA177BC4800}">
      <dgm:prSet/>
      <dgm:spPr/>
      <dgm:t>
        <a:bodyPr/>
        <a:lstStyle/>
        <a:p>
          <a:endParaRPr lang="es-CO"/>
        </a:p>
      </dgm:t>
    </dgm:pt>
    <dgm:pt modelId="{58E4897E-F1BD-4A43-9EF8-D5DEABAD0B75}">
      <dgm:prSet phldrT="[Texto]"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Meta: 35,34 Km</a:t>
          </a:r>
        </a:p>
      </dgm:t>
    </dgm:pt>
    <dgm:pt modelId="{46BA5227-5318-4E5A-92F6-4D18E9FBBAB8}" type="sibTrans" cxnId="{C8537C56-A026-4853-ABF5-D55A02D72BC3}">
      <dgm:prSet/>
      <dgm:spPr/>
      <dgm:t>
        <a:bodyPr/>
        <a:lstStyle/>
        <a:p>
          <a:endParaRPr lang="es-CO"/>
        </a:p>
      </dgm:t>
    </dgm:pt>
    <dgm:pt modelId="{210FDB80-2E55-44B1-BE09-BA0B86F7BA11}" type="parTrans" cxnId="{C8537C56-A026-4853-ABF5-D55A02D72BC3}">
      <dgm:prSet/>
      <dgm:spPr/>
      <dgm:t>
        <a:bodyPr/>
        <a:lstStyle/>
        <a:p>
          <a:endParaRPr lang="es-CO"/>
        </a:p>
      </dgm:t>
    </dgm:pt>
    <dgm:pt modelId="{00AFD189-B924-4BA8-9975-A95341F9009F}">
      <dgm:prSet phldrT="[Texto]"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Logro: 9,7 km</a:t>
          </a:r>
        </a:p>
      </dgm:t>
    </dgm:pt>
    <dgm:pt modelId="{A5061520-6AA6-414F-AD8F-1A2DAC6FA8AF}" type="parTrans" cxnId="{FAAA46D1-6365-4C24-82BC-548CCCC8145F}">
      <dgm:prSet/>
      <dgm:spPr/>
      <dgm:t>
        <a:bodyPr/>
        <a:lstStyle/>
        <a:p>
          <a:endParaRPr lang="es-CO"/>
        </a:p>
      </dgm:t>
    </dgm:pt>
    <dgm:pt modelId="{A5798C80-CB34-4598-BFE3-26DB907EB924}" type="sibTrans" cxnId="{FAAA46D1-6365-4C24-82BC-548CCCC8145F}">
      <dgm:prSet/>
      <dgm:spPr/>
      <dgm:t>
        <a:bodyPr/>
        <a:lstStyle/>
        <a:p>
          <a:endParaRPr lang="es-CO"/>
        </a:p>
      </dgm:t>
    </dgm:pt>
    <dgm:pt modelId="{34B6C017-F4E5-48F4-90A7-9E143FF2E99A}">
      <dgm:prSet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Logro: 21,3 Km</a:t>
          </a:r>
        </a:p>
      </dgm:t>
    </dgm:pt>
    <dgm:pt modelId="{724F0AD2-F1F9-4CD9-A83D-7C4EB40590D8}" type="parTrans" cxnId="{4C54D2F4-29E5-4D75-9035-F81C73CC4F69}">
      <dgm:prSet/>
      <dgm:spPr/>
      <dgm:t>
        <a:bodyPr/>
        <a:lstStyle/>
        <a:p>
          <a:endParaRPr lang="es-CO"/>
        </a:p>
      </dgm:t>
    </dgm:pt>
    <dgm:pt modelId="{75C42133-8E18-4D3B-9F8F-1F7EA1DDE7A4}" type="sibTrans" cxnId="{4C54D2F4-29E5-4D75-9035-F81C73CC4F69}">
      <dgm:prSet/>
      <dgm:spPr/>
      <dgm:t>
        <a:bodyPr/>
        <a:lstStyle/>
        <a:p>
          <a:endParaRPr lang="es-CO"/>
        </a:p>
      </dgm:t>
    </dgm:pt>
    <dgm:pt modelId="{B3AF9341-37B6-4911-91B4-56D4F110C101}">
      <dgm:prSet custT="1"/>
      <dgm:spPr/>
      <dgm:t>
        <a:bodyPr/>
        <a:lstStyle/>
        <a:p>
          <a:r>
            <a:rPr lang="es-CO" sz="2400" dirty="0">
              <a:solidFill>
                <a:schemeClr val="accent2">
                  <a:lumMod val="75000"/>
                </a:schemeClr>
              </a:solidFill>
            </a:rPr>
            <a:t>Logro: 20 Km</a:t>
          </a:r>
        </a:p>
      </dgm:t>
    </dgm:pt>
    <dgm:pt modelId="{BFC38FAE-6F2C-4EF7-945C-A82877198197}" type="sibTrans" cxnId="{02349542-B482-4E25-87A4-F00972629F39}">
      <dgm:prSet/>
      <dgm:spPr/>
      <dgm:t>
        <a:bodyPr/>
        <a:lstStyle/>
        <a:p>
          <a:endParaRPr lang="es-CO"/>
        </a:p>
      </dgm:t>
    </dgm:pt>
    <dgm:pt modelId="{AEF8B36D-5D62-4852-8778-64B5034C873C}" type="parTrans" cxnId="{02349542-B482-4E25-87A4-F00972629F39}">
      <dgm:prSet/>
      <dgm:spPr/>
      <dgm:t>
        <a:bodyPr/>
        <a:lstStyle/>
        <a:p>
          <a:endParaRPr lang="es-CO"/>
        </a:p>
      </dgm:t>
    </dgm:pt>
    <dgm:pt modelId="{C54FFA07-ED26-4533-9886-0B95140E49A8}" type="pres">
      <dgm:prSet presAssocID="{7961B001-B5B3-43A8-8285-9E5ADE3B1667}" presName="Name0" presStyleCnt="0">
        <dgm:presLayoutVars>
          <dgm:dir/>
          <dgm:animLvl val="lvl"/>
          <dgm:resizeHandles val="exact"/>
        </dgm:presLayoutVars>
      </dgm:prSet>
      <dgm:spPr/>
    </dgm:pt>
    <dgm:pt modelId="{306C89D0-084F-4BE4-AD87-A8BCBA681524}" type="pres">
      <dgm:prSet presAssocID="{77D4AE11-5503-4405-8103-15FDC7ED7A1F}" presName="composite" presStyleCnt="0"/>
      <dgm:spPr/>
    </dgm:pt>
    <dgm:pt modelId="{BFDFAA5F-2980-40B0-9A86-75231EDEE37A}" type="pres">
      <dgm:prSet presAssocID="{77D4AE11-5503-4405-8103-15FDC7ED7A1F}" presName="parTx" presStyleLbl="alignNode1" presStyleIdx="0" presStyleCnt="3" custScaleX="117977" custLinFactY="-33879" custLinFactNeighborX="4787" custLinFactNeighborY="-100000">
        <dgm:presLayoutVars>
          <dgm:chMax val="0"/>
          <dgm:chPref val="0"/>
          <dgm:bulletEnabled val="1"/>
        </dgm:presLayoutVars>
      </dgm:prSet>
      <dgm:spPr/>
    </dgm:pt>
    <dgm:pt modelId="{D8887FB0-731D-4CED-B04F-689C2FD521F5}" type="pres">
      <dgm:prSet presAssocID="{77D4AE11-5503-4405-8103-15FDC7ED7A1F}" presName="desTx" presStyleLbl="alignAccFollowNode1" presStyleIdx="0" presStyleCnt="3" custScaleX="108635" custScaleY="95568" custLinFactNeighborX="49" custLinFactNeighborY="-26874">
        <dgm:presLayoutVars>
          <dgm:bulletEnabled val="1"/>
        </dgm:presLayoutVars>
      </dgm:prSet>
      <dgm:spPr/>
    </dgm:pt>
    <dgm:pt modelId="{C6799F97-20B4-48C7-BDA3-8AB7F6FA2837}" type="pres">
      <dgm:prSet presAssocID="{58B2DC6B-46C7-4831-A0CD-CFCA1BEFCDAD}" presName="space" presStyleCnt="0"/>
      <dgm:spPr/>
    </dgm:pt>
    <dgm:pt modelId="{F9FF70F6-D201-4A54-8DCC-E8CB41017338}" type="pres">
      <dgm:prSet presAssocID="{E0C296A7-8C77-4FAB-AE1D-33CC5ECEE752}" presName="composite" presStyleCnt="0"/>
      <dgm:spPr/>
    </dgm:pt>
    <dgm:pt modelId="{7FC7DB7A-5204-40E5-B763-9D0CC90EF1BD}" type="pres">
      <dgm:prSet presAssocID="{E0C296A7-8C77-4FAB-AE1D-33CC5ECEE752}" presName="parTx" presStyleLbl="alignNode1" presStyleIdx="1" presStyleCnt="3" custLinFactY="-44295" custLinFactNeighborX="-74" custLinFactNeighborY="-100000">
        <dgm:presLayoutVars>
          <dgm:chMax val="0"/>
          <dgm:chPref val="0"/>
          <dgm:bulletEnabled val="1"/>
        </dgm:presLayoutVars>
      </dgm:prSet>
      <dgm:spPr/>
    </dgm:pt>
    <dgm:pt modelId="{90F38049-0CF6-4FFA-8430-027A3E2E5B35}" type="pres">
      <dgm:prSet presAssocID="{E0C296A7-8C77-4FAB-AE1D-33CC5ECEE752}" presName="desTx" presStyleLbl="alignAccFollowNode1" presStyleIdx="1" presStyleCnt="3" custScaleX="103042" custScaleY="92363" custLinFactNeighborX="-1125" custLinFactNeighborY="-34434">
        <dgm:presLayoutVars>
          <dgm:bulletEnabled val="1"/>
        </dgm:presLayoutVars>
      </dgm:prSet>
      <dgm:spPr/>
    </dgm:pt>
    <dgm:pt modelId="{20C0BD5C-5854-46BD-8998-543533F47100}" type="pres">
      <dgm:prSet presAssocID="{7E39D257-4C85-4A36-8277-64384CCF2498}" presName="space" presStyleCnt="0"/>
      <dgm:spPr/>
    </dgm:pt>
    <dgm:pt modelId="{0E9377ED-D375-4ABF-9FED-08372D8538C9}" type="pres">
      <dgm:prSet presAssocID="{D242DB36-1B95-4BA9-9CE6-80DC80C48099}" presName="composite" presStyleCnt="0"/>
      <dgm:spPr/>
    </dgm:pt>
    <dgm:pt modelId="{CD6DF7E2-8EA4-4BC0-8CC6-BA8B3D36FAD9}" type="pres">
      <dgm:prSet presAssocID="{D242DB36-1B95-4BA9-9CE6-80DC80C48099}" presName="parTx" presStyleLbl="alignNode1" presStyleIdx="2" presStyleCnt="3" custLinFactY="-11919" custLinFactNeighborX="-3085" custLinFactNeighborY="-100000">
        <dgm:presLayoutVars>
          <dgm:chMax val="0"/>
          <dgm:chPref val="0"/>
          <dgm:bulletEnabled val="1"/>
        </dgm:presLayoutVars>
      </dgm:prSet>
      <dgm:spPr/>
    </dgm:pt>
    <dgm:pt modelId="{7D928F2E-61E8-4BC1-A84B-DA68D2953663}" type="pres">
      <dgm:prSet presAssocID="{D242DB36-1B95-4BA9-9CE6-80DC80C48099}" presName="desTx" presStyleLbl="alignAccFollowNode1" presStyleIdx="2" presStyleCnt="3" custScaleY="101464" custLinFactNeighborX="235" custLinFactNeighborY="-13803">
        <dgm:presLayoutVars>
          <dgm:bulletEnabled val="1"/>
        </dgm:presLayoutVars>
      </dgm:prSet>
      <dgm:spPr/>
    </dgm:pt>
  </dgm:ptLst>
  <dgm:cxnLst>
    <dgm:cxn modelId="{02349542-B482-4E25-87A4-F00972629F39}" srcId="{E0C296A7-8C77-4FAB-AE1D-33CC5ECEE752}" destId="{B3AF9341-37B6-4911-91B4-56D4F110C101}" srcOrd="1" destOrd="0" parTransId="{AEF8B36D-5D62-4852-8778-64B5034C873C}" sibTransId="{BFC38FAE-6F2C-4EF7-945C-A82877198197}"/>
    <dgm:cxn modelId="{3C93BD93-FFCE-4A42-AEA5-B2E249A8187C}" type="presOf" srcId="{00AFD189-B924-4BA8-9975-A95341F9009F}" destId="{D8887FB0-731D-4CED-B04F-689C2FD521F5}" srcOrd="0" destOrd="1" presId="urn:microsoft.com/office/officeart/2005/8/layout/hList1"/>
    <dgm:cxn modelId="{C403731E-5E94-4B49-A1A6-6429428BB0ED}" type="presOf" srcId="{77D4AE11-5503-4405-8103-15FDC7ED7A1F}" destId="{BFDFAA5F-2980-40B0-9A86-75231EDEE37A}" srcOrd="0" destOrd="0" presId="urn:microsoft.com/office/officeart/2005/8/layout/hList1"/>
    <dgm:cxn modelId="{CFEB35BA-6F18-4FF8-86B2-66F49635400F}" srcId="{7961B001-B5B3-43A8-8285-9E5ADE3B1667}" destId="{E0C296A7-8C77-4FAB-AE1D-33CC5ECEE752}" srcOrd="1" destOrd="0" parTransId="{37AA76DA-B536-4719-B5B6-D64FE0F252EE}" sibTransId="{7E39D257-4C85-4A36-8277-64384CCF2498}"/>
    <dgm:cxn modelId="{DE747D9E-3961-4BB6-81EF-79D028C925D7}" type="presOf" srcId="{34B6C017-F4E5-48F4-90A7-9E143FF2E99A}" destId="{7D928F2E-61E8-4BC1-A84B-DA68D2953663}" srcOrd="0" destOrd="1" presId="urn:microsoft.com/office/officeart/2005/8/layout/hList1"/>
    <dgm:cxn modelId="{A0CBCB9F-8816-40F0-B475-FE07FA50EBA5}" type="presOf" srcId="{58E4897E-F1BD-4A43-9EF8-D5DEABAD0B75}" destId="{7D928F2E-61E8-4BC1-A84B-DA68D2953663}" srcOrd="0" destOrd="0" presId="urn:microsoft.com/office/officeart/2005/8/layout/hList1"/>
    <dgm:cxn modelId="{627E1882-71D1-4780-A022-E9B612CFA22B}" type="presOf" srcId="{2B0AD8A8-E115-4A10-850E-896CEF17F3E6}" destId="{90F38049-0CF6-4FFA-8430-027A3E2E5B35}" srcOrd="0" destOrd="0" presId="urn:microsoft.com/office/officeart/2005/8/layout/hList1"/>
    <dgm:cxn modelId="{3A22E8A5-AF6C-454B-A257-1D5BB82D0879}" type="presOf" srcId="{E0C296A7-8C77-4FAB-AE1D-33CC5ECEE752}" destId="{7FC7DB7A-5204-40E5-B763-9D0CC90EF1BD}" srcOrd="0" destOrd="0" presId="urn:microsoft.com/office/officeart/2005/8/layout/hList1"/>
    <dgm:cxn modelId="{B815C7D9-0D2E-4F5E-8703-B7CEAEDD88BC}" type="presOf" srcId="{6BF04080-35EC-4891-BC25-7F8BAC63FD19}" destId="{D8887FB0-731D-4CED-B04F-689C2FD521F5}" srcOrd="0" destOrd="0" presId="urn:microsoft.com/office/officeart/2005/8/layout/hList1"/>
    <dgm:cxn modelId="{E1D3098A-A2A9-409F-881D-4636286C8CC5}" srcId="{E0C296A7-8C77-4FAB-AE1D-33CC5ECEE752}" destId="{2B0AD8A8-E115-4A10-850E-896CEF17F3E6}" srcOrd="0" destOrd="0" parTransId="{79CAD57B-E6A2-4860-9D6D-A7F9CB0B28E2}" sibTransId="{9846D59A-7140-4E5A-BBE8-F3DD4C88FFAD}"/>
    <dgm:cxn modelId="{4C54D2F4-29E5-4D75-9035-F81C73CC4F69}" srcId="{D242DB36-1B95-4BA9-9CE6-80DC80C48099}" destId="{34B6C017-F4E5-48F4-90A7-9E143FF2E99A}" srcOrd="1" destOrd="0" parTransId="{724F0AD2-F1F9-4CD9-A83D-7C4EB40590D8}" sibTransId="{75C42133-8E18-4D3B-9F8F-1F7EA1DDE7A4}"/>
    <dgm:cxn modelId="{D5D97820-0ED0-49A6-8B55-1C5799E40A25}" type="presOf" srcId="{7961B001-B5B3-43A8-8285-9E5ADE3B1667}" destId="{C54FFA07-ED26-4533-9886-0B95140E49A8}" srcOrd="0" destOrd="0" presId="urn:microsoft.com/office/officeart/2005/8/layout/hList1"/>
    <dgm:cxn modelId="{C8537C56-A026-4853-ABF5-D55A02D72BC3}" srcId="{D242DB36-1B95-4BA9-9CE6-80DC80C48099}" destId="{58E4897E-F1BD-4A43-9EF8-D5DEABAD0B75}" srcOrd="0" destOrd="0" parTransId="{210FDB80-2E55-44B1-BE09-BA0B86F7BA11}" sibTransId="{46BA5227-5318-4E5A-92F6-4D18E9FBBAB8}"/>
    <dgm:cxn modelId="{6B51ADDF-270C-4F2B-8D8F-5DA177BC4800}" srcId="{7961B001-B5B3-43A8-8285-9E5ADE3B1667}" destId="{D242DB36-1B95-4BA9-9CE6-80DC80C48099}" srcOrd="2" destOrd="0" parTransId="{E679C600-FA52-4FA5-9E75-D7AE290884F3}" sibTransId="{865D8D61-2144-4152-A6FC-5A1BA7F2C160}"/>
    <dgm:cxn modelId="{11624BBA-251A-4A6E-A345-C56547F4440F}" srcId="{77D4AE11-5503-4405-8103-15FDC7ED7A1F}" destId="{6BF04080-35EC-4891-BC25-7F8BAC63FD19}" srcOrd="0" destOrd="0" parTransId="{AB3766A4-58EE-459A-9AED-974E2D834207}" sibTransId="{AB3F1BF7-3D60-4FA3-A5E7-70DAE7F88414}"/>
    <dgm:cxn modelId="{186BFD2E-AE0A-43B4-86CA-FC2164F1C3A8}" srcId="{7961B001-B5B3-43A8-8285-9E5ADE3B1667}" destId="{77D4AE11-5503-4405-8103-15FDC7ED7A1F}" srcOrd="0" destOrd="0" parTransId="{505AA9A9-285E-4CE9-9774-3720EA0C35F1}" sibTransId="{58B2DC6B-46C7-4831-A0CD-CFCA1BEFCDAD}"/>
    <dgm:cxn modelId="{3BC6F7D2-FA11-4780-AB6E-E68F65871419}" type="presOf" srcId="{B3AF9341-37B6-4911-91B4-56D4F110C101}" destId="{90F38049-0CF6-4FFA-8430-027A3E2E5B35}" srcOrd="0" destOrd="1" presId="urn:microsoft.com/office/officeart/2005/8/layout/hList1"/>
    <dgm:cxn modelId="{FAAA46D1-6365-4C24-82BC-548CCCC8145F}" srcId="{77D4AE11-5503-4405-8103-15FDC7ED7A1F}" destId="{00AFD189-B924-4BA8-9975-A95341F9009F}" srcOrd="1" destOrd="0" parTransId="{A5061520-6AA6-414F-AD8F-1A2DAC6FA8AF}" sibTransId="{A5798C80-CB34-4598-BFE3-26DB907EB924}"/>
    <dgm:cxn modelId="{611CFF5F-64C4-4C42-A0D7-683D5AB145EC}" type="presOf" srcId="{D242DB36-1B95-4BA9-9CE6-80DC80C48099}" destId="{CD6DF7E2-8EA4-4BC0-8CC6-BA8B3D36FAD9}" srcOrd="0" destOrd="0" presId="urn:microsoft.com/office/officeart/2005/8/layout/hList1"/>
    <dgm:cxn modelId="{DC50F435-8C29-421E-A993-3DC058174A85}" type="presParOf" srcId="{C54FFA07-ED26-4533-9886-0B95140E49A8}" destId="{306C89D0-084F-4BE4-AD87-A8BCBA681524}" srcOrd="0" destOrd="0" presId="urn:microsoft.com/office/officeart/2005/8/layout/hList1"/>
    <dgm:cxn modelId="{16B38637-BC45-41E8-A2BB-EDFC6C3A96BC}" type="presParOf" srcId="{306C89D0-084F-4BE4-AD87-A8BCBA681524}" destId="{BFDFAA5F-2980-40B0-9A86-75231EDEE37A}" srcOrd="0" destOrd="0" presId="urn:microsoft.com/office/officeart/2005/8/layout/hList1"/>
    <dgm:cxn modelId="{36FC5A7D-CCAE-485D-81ED-C546B3781BA5}" type="presParOf" srcId="{306C89D0-084F-4BE4-AD87-A8BCBA681524}" destId="{D8887FB0-731D-4CED-B04F-689C2FD521F5}" srcOrd="1" destOrd="0" presId="urn:microsoft.com/office/officeart/2005/8/layout/hList1"/>
    <dgm:cxn modelId="{6371A361-3905-479B-A6D2-A26F8187A895}" type="presParOf" srcId="{C54FFA07-ED26-4533-9886-0B95140E49A8}" destId="{C6799F97-20B4-48C7-BDA3-8AB7F6FA2837}" srcOrd="1" destOrd="0" presId="urn:microsoft.com/office/officeart/2005/8/layout/hList1"/>
    <dgm:cxn modelId="{2F74FF06-0683-4705-87A5-3BC95CE8DC1E}" type="presParOf" srcId="{C54FFA07-ED26-4533-9886-0B95140E49A8}" destId="{F9FF70F6-D201-4A54-8DCC-E8CB41017338}" srcOrd="2" destOrd="0" presId="urn:microsoft.com/office/officeart/2005/8/layout/hList1"/>
    <dgm:cxn modelId="{9D04ECBF-AADA-4128-BE01-2DFE9FE4AE5C}" type="presParOf" srcId="{F9FF70F6-D201-4A54-8DCC-E8CB41017338}" destId="{7FC7DB7A-5204-40E5-B763-9D0CC90EF1BD}" srcOrd="0" destOrd="0" presId="urn:microsoft.com/office/officeart/2005/8/layout/hList1"/>
    <dgm:cxn modelId="{6BA167F0-2647-43F6-A512-6E375E8B1EE5}" type="presParOf" srcId="{F9FF70F6-D201-4A54-8DCC-E8CB41017338}" destId="{90F38049-0CF6-4FFA-8430-027A3E2E5B35}" srcOrd="1" destOrd="0" presId="urn:microsoft.com/office/officeart/2005/8/layout/hList1"/>
    <dgm:cxn modelId="{65E83B34-E80E-42AE-AA5F-3476C60B31B3}" type="presParOf" srcId="{C54FFA07-ED26-4533-9886-0B95140E49A8}" destId="{20C0BD5C-5854-46BD-8998-543533F47100}" srcOrd="3" destOrd="0" presId="urn:microsoft.com/office/officeart/2005/8/layout/hList1"/>
    <dgm:cxn modelId="{9AB1FD76-556C-445A-ADF5-7940736E4C72}" type="presParOf" srcId="{C54FFA07-ED26-4533-9886-0B95140E49A8}" destId="{0E9377ED-D375-4ABF-9FED-08372D8538C9}" srcOrd="4" destOrd="0" presId="urn:microsoft.com/office/officeart/2005/8/layout/hList1"/>
    <dgm:cxn modelId="{EEBA33C8-3AEB-44BA-98F5-A17AA797D919}" type="presParOf" srcId="{0E9377ED-D375-4ABF-9FED-08372D8538C9}" destId="{CD6DF7E2-8EA4-4BC0-8CC6-BA8B3D36FAD9}" srcOrd="0" destOrd="0" presId="urn:microsoft.com/office/officeart/2005/8/layout/hList1"/>
    <dgm:cxn modelId="{CA6A5D1B-6B8D-4759-8005-FC5473AEF66E}" type="presParOf" srcId="{0E9377ED-D375-4ABF-9FED-08372D8538C9}" destId="{7D928F2E-61E8-4BC1-A84B-DA68D295366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F3BE8D70-1E79-433E-A3F8-2796FBB4DB35}">
      <dgm:prSet/>
      <dgm:spPr/>
      <dgm:t>
        <a:bodyPr/>
        <a:lstStyle/>
        <a:p>
          <a:r>
            <a:rPr lang="es-ES" dirty="0"/>
            <a:t>Inicio construcción Puente peatonal “Bosques de la Acuarela” PR 4+350 de la Avenida del Ferrocarril  en el Municipio de Dosquebradas.</a:t>
          </a:r>
        </a:p>
      </dgm:t>
    </dgm:pt>
    <dgm:pt modelId="{5A749BDD-7CE5-4BF2-8CAC-7856939BCE0C}" type="parTrans" cxnId="{CEEC1E19-B6D1-426B-BA8B-E75EE00CFE87}">
      <dgm:prSet/>
      <dgm:spPr/>
      <dgm:t>
        <a:bodyPr/>
        <a:lstStyle/>
        <a:p>
          <a:endParaRPr lang="es-ES"/>
        </a:p>
      </dgm:t>
    </dgm:pt>
    <dgm:pt modelId="{F75A34B5-9B6D-4C91-B466-AE5F26306EA7}" type="sibTrans" cxnId="{CEEC1E19-B6D1-426B-BA8B-E75EE00CFE87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Y="-86445" custLinFactNeighborY="-100000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ScaleY="88304" custLinFactNeighborX="1558" custLinFactNeighborY="-5024">
        <dgm:presLayoutVars>
          <dgm:bulletEnabled val="1"/>
        </dgm:presLayoutVars>
      </dgm:prSet>
      <dgm:spPr/>
    </dgm:pt>
  </dgm:ptLst>
  <dgm:cxnLst>
    <dgm:cxn modelId="{2D0C05B9-6321-4BEB-B59A-6C1F1F628721}" type="presOf" srcId="{62D32E80-FEA0-48C5-B4F3-D3A7B382CF4D}" destId="{AB09D624-FF1B-4987-8110-30D214096F41}" srcOrd="0" destOrd="0" presId="urn:microsoft.com/office/officeart/2005/8/layout/hList1"/>
    <dgm:cxn modelId="{C8EDD175-243A-4DEF-BC16-87629759AA2C}" type="presOf" srcId="{F3BE8D70-1E79-433E-A3F8-2796FBB4DB35}" destId="{AB09D624-FF1B-4987-8110-30D214096F41}" srcOrd="0" destOrd="1" presId="urn:microsoft.com/office/officeart/2005/8/layout/hList1"/>
    <dgm:cxn modelId="{CEEC1E19-B6D1-426B-BA8B-E75EE00CFE87}" srcId="{3256AD19-79D9-4DD2-BD85-48D74080CB17}" destId="{F3BE8D70-1E79-433E-A3F8-2796FBB4DB35}" srcOrd="1" destOrd="0" parTransId="{5A749BDD-7CE5-4BF2-8CAC-7856939BCE0C}" sibTransId="{F75A34B5-9B6D-4C91-B466-AE5F26306EA7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FE0F348F-5B5E-4597-A732-B0F0DAEC3FE9}" type="presOf" srcId="{CF84DDC2-96BF-432F-AA37-B7281110F630}" destId="{351DADD5-826D-416B-84E5-26678C386891}" srcOrd="0" destOrd="0" presId="urn:microsoft.com/office/officeart/2005/8/layout/hList1"/>
    <dgm:cxn modelId="{E648235D-1ED9-4BBC-8707-30F8B4A05083}" type="presOf" srcId="{3256AD19-79D9-4DD2-BD85-48D74080CB17}" destId="{FFC2669E-6EFE-4306-9BF4-0E6FE39D4B43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3CC1D92D-7FDA-48E9-9849-D4F767FF6638}" type="presParOf" srcId="{351DADD5-826D-416B-84E5-26678C386891}" destId="{78A07495-0AF3-45E3-8386-C0DF5FF5E438}" srcOrd="0" destOrd="0" presId="urn:microsoft.com/office/officeart/2005/8/layout/hList1"/>
    <dgm:cxn modelId="{C306BB06-DD2D-47CE-BBF0-3ACD5B247294}" type="presParOf" srcId="{78A07495-0AF3-45E3-8386-C0DF5FF5E438}" destId="{FFC2669E-6EFE-4306-9BF4-0E6FE39D4B43}" srcOrd="0" destOrd="0" presId="urn:microsoft.com/office/officeart/2005/8/layout/hList1"/>
    <dgm:cxn modelId="{52FB1402-DB0D-4293-B261-A264E9302E18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ES" dirty="0"/>
            <a:t> Terminada  e inaugurada  las  obras de Rehabilitación de La Española-Calarcá.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E6A961D3-9A39-41F7-8FF8-FEA79AEC47E1}">
      <dgm:prSet/>
      <dgm:spPr/>
      <dgm:t>
        <a:bodyPr/>
        <a:lstStyle/>
        <a:p>
          <a:endParaRPr lang="es-CO" dirty="0"/>
        </a:p>
      </dgm:t>
    </dgm:pt>
    <dgm:pt modelId="{966AAB1C-453E-4089-A465-AE3F1D52970C}" type="parTrans" cxnId="{2C9619EB-37E0-4CAD-AE28-632CED2324E1}">
      <dgm:prSet/>
      <dgm:spPr/>
      <dgm:t>
        <a:bodyPr/>
        <a:lstStyle/>
        <a:p>
          <a:endParaRPr lang="es-ES"/>
        </a:p>
      </dgm:t>
    </dgm:pt>
    <dgm:pt modelId="{F1A7E158-F80D-4AD8-AA52-D9B9C6EC35FA}" type="sibTrans" cxnId="{2C9619EB-37E0-4CAD-AE28-632CED2324E1}">
      <dgm:prSet/>
      <dgm:spPr/>
      <dgm:t>
        <a:bodyPr/>
        <a:lstStyle/>
        <a:p>
          <a:endParaRPr lang="es-ES"/>
        </a:p>
      </dgm:t>
    </dgm:pt>
    <dgm:pt modelId="{0A74AF19-8369-44BB-9A27-218E842FA45F}">
      <dgm:prSet phldrT="[Texto]"/>
      <dgm:spPr/>
      <dgm:t>
        <a:bodyPr/>
        <a:lstStyle/>
        <a:p>
          <a:r>
            <a:rPr lang="es-CO" dirty="0"/>
            <a:t>Terminados los estudios y diseños del puente peatonal </a:t>
          </a:r>
          <a:r>
            <a:rPr lang="es-ES" dirty="0"/>
            <a:t>“Bosques de la Acuarela” .</a:t>
          </a:r>
          <a:endParaRPr lang="es-CO" dirty="0"/>
        </a:p>
      </dgm:t>
    </dgm:pt>
    <dgm:pt modelId="{D6FBB746-DCFC-4C46-86BC-A8EE51E27BB8}" type="parTrans" cxnId="{625E1833-5FE8-40C1-9AE8-86FBE8AE7106}">
      <dgm:prSet/>
      <dgm:spPr/>
      <dgm:t>
        <a:bodyPr/>
        <a:lstStyle/>
        <a:p>
          <a:endParaRPr lang="es-ES"/>
        </a:p>
      </dgm:t>
    </dgm:pt>
    <dgm:pt modelId="{9167E47F-1245-48E4-92B7-359D3F138624}" type="sibTrans" cxnId="{625E1833-5FE8-40C1-9AE8-86FBE8AE7106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5738" custLinFactNeighborY="-22895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ScaleY="100000" custLinFactNeighborX="602" custLinFactNeighborY="-8497">
        <dgm:presLayoutVars>
          <dgm:bulletEnabled val="1"/>
        </dgm:presLayoutVars>
      </dgm:prSet>
      <dgm:spPr/>
    </dgm:pt>
  </dgm:ptLst>
  <dgm:cxnLst>
    <dgm:cxn modelId="{2C9619EB-37E0-4CAD-AE28-632CED2324E1}" srcId="{3256AD19-79D9-4DD2-BD85-48D74080CB17}" destId="{E6A961D3-9A39-41F7-8FF8-FEA79AEC47E1}" srcOrd="2" destOrd="0" parTransId="{966AAB1C-453E-4089-A465-AE3F1D52970C}" sibTransId="{F1A7E158-F80D-4AD8-AA52-D9B9C6EC35FA}"/>
    <dgm:cxn modelId="{7C514743-5426-4E20-B876-C4CD5F8FA915}" type="presOf" srcId="{CF84DDC2-96BF-432F-AA37-B7281110F630}" destId="{351DADD5-826D-416B-84E5-26678C386891}" srcOrd="0" destOrd="0" presId="urn:microsoft.com/office/officeart/2005/8/layout/hList1"/>
    <dgm:cxn modelId="{EFAF50B0-F34D-42AC-BF03-665A4F4A548E}" type="presOf" srcId="{3256AD19-79D9-4DD2-BD85-48D74080CB17}" destId="{FFC2669E-6EFE-4306-9BF4-0E6FE39D4B43}" srcOrd="0" destOrd="0" presId="urn:microsoft.com/office/officeart/2005/8/layout/hList1"/>
    <dgm:cxn modelId="{528FF829-B3EF-4E1F-A2AD-AD384171C1AF}" type="presOf" srcId="{62D32E80-FEA0-48C5-B4F3-D3A7B382CF4D}" destId="{AB09D624-FF1B-4987-8110-30D214096F41}" srcOrd="0" destOrd="0" presId="urn:microsoft.com/office/officeart/2005/8/layout/hList1"/>
    <dgm:cxn modelId="{C73F89A5-40C5-4482-8CDB-BF050EA9452B}" type="presOf" srcId="{0A74AF19-8369-44BB-9A27-218E842FA45F}" destId="{AB09D624-FF1B-4987-8110-30D214096F41}" srcOrd="0" destOrd="1" presId="urn:microsoft.com/office/officeart/2005/8/layout/hList1"/>
    <dgm:cxn modelId="{4E14E5D7-272C-4F35-A333-D266A0597C80}" type="presOf" srcId="{E6A961D3-9A39-41F7-8FF8-FEA79AEC47E1}" destId="{AB09D624-FF1B-4987-8110-30D214096F41}" srcOrd="0" destOrd="2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625E1833-5FE8-40C1-9AE8-86FBE8AE7106}" srcId="{3256AD19-79D9-4DD2-BD85-48D74080CB17}" destId="{0A74AF19-8369-44BB-9A27-218E842FA45F}" srcOrd="1" destOrd="0" parTransId="{D6FBB746-DCFC-4C46-86BC-A8EE51E27BB8}" sibTransId="{9167E47F-1245-48E4-92B7-359D3F138624}"/>
    <dgm:cxn modelId="{7B64A6AD-2837-43D1-A116-821C4900D85E}" type="presParOf" srcId="{351DADD5-826D-416B-84E5-26678C386891}" destId="{78A07495-0AF3-45E3-8386-C0DF5FF5E438}" srcOrd="0" destOrd="0" presId="urn:microsoft.com/office/officeart/2005/8/layout/hList1"/>
    <dgm:cxn modelId="{92B51D4B-80B3-45B6-A2CE-1758DE228C7A}" type="presParOf" srcId="{78A07495-0AF3-45E3-8386-C0DF5FF5E438}" destId="{FFC2669E-6EFE-4306-9BF4-0E6FE39D4B43}" srcOrd="0" destOrd="0" presId="urn:microsoft.com/office/officeart/2005/8/layout/hList1"/>
    <dgm:cxn modelId="{6D3F2FC5-DA34-4977-961C-E9FF5265AA87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Ampliación del Antiguo Viaducto La Caro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2600394C-64DB-417A-B219-B826A82AB1EC}">
      <dgm:prSet phldrT="[Texto]"/>
      <dgm:spPr/>
      <dgm:t>
        <a:bodyPr/>
        <a:lstStyle/>
        <a:p>
          <a:r>
            <a:rPr lang="es-CO" dirty="0"/>
            <a:t>Construcción Puente Peatonal Refisal</a:t>
          </a:r>
        </a:p>
      </dgm:t>
    </dgm:pt>
    <dgm:pt modelId="{F9FBB72E-29DE-45E7-9146-BE862218D504}" type="parTrans" cxnId="{B86C1B60-79CA-44DD-83A7-430B641907B6}">
      <dgm:prSet/>
      <dgm:spPr/>
      <dgm:t>
        <a:bodyPr/>
        <a:lstStyle/>
        <a:p>
          <a:endParaRPr lang="es-ES"/>
        </a:p>
      </dgm:t>
    </dgm:pt>
    <dgm:pt modelId="{5C67DECF-13FC-4C5E-98A0-9F0E22816D24}" type="sibTrans" cxnId="{B86C1B60-79CA-44DD-83A7-430B641907B6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1999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E4AA417C-E914-4846-AEC7-768C4C912DE7}" type="presOf" srcId="{3256AD19-79D9-4DD2-BD85-48D74080CB17}" destId="{FFC2669E-6EFE-4306-9BF4-0E6FE39D4B43}" srcOrd="0" destOrd="0" presId="urn:microsoft.com/office/officeart/2005/8/layout/hList1"/>
    <dgm:cxn modelId="{382E7A39-A55F-4919-900F-32EB4F5817F6}" type="presOf" srcId="{62D32E80-FEA0-48C5-B4F3-D3A7B382CF4D}" destId="{AB09D624-FF1B-4987-8110-30D214096F41}" srcOrd="0" destOrd="0" presId="urn:microsoft.com/office/officeart/2005/8/layout/hList1"/>
    <dgm:cxn modelId="{71648E87-5978-465C-883F-B74AE00BC1DF}" type="presOf" srcId="{2600394C-64DB-417A-B219-B826A82AB1EC}" destId="{AB09D624-FF1B-4987-8110-30D214096F41}" srcOrd="0" destOrd="1" presId="urn:microsoft.com/office/officeart/2005/8/layout/hList1"/>
    <dgm:cxn modelId="{B86C1B60-79CA-44DD-83A7-430B641907B6}" srcId="{3256AD19-79D9-4DD2-BD85-48D74080CB17}" destId="{2600394C-64DB-417A-B219-B826A82AB1EC}" srcOrd="1" destOrd="0" parTransId="{F9FBB72E-29DE-45E7-9146-BE862218D504}" sibTransId="{5C67DECF-13FC-4C5E-98A0-9F0E22816D24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74CC33F-1007-4A1A-B734-2A634A1173A1}" type="presOf" srcId="{CF84DDC2-96BF-432F-AA37-B7281110F630}" destId="{351DADD5-826D-416B-84E5-26678C386891}" srcOrd="0" destOrd="0" presId="urn:microsoft.com/office/officeart/2005/8/layout/hList1"/>
    <dgm:cxn modelId="{BEB97250-37D3-4A83-8509-35B6E4876C9C}" type="presParOf" srcId="{351DADD5-826D-416B-84E5-26678C386891}" destId="{78A07495-0AF3-45E3-8386-C0DF5FF5E438}" srcOrd="0" destOrd="0" presId="urn:microsoft.com/office/officeart/2005/8/layout/hList1"/>
    <dgm:cxn modelId="{8AD2C4C2-88D9-4DA1-9F66-539E29F9DF2C}" type="presParOf" srcId="{78A07495-0AF3-45E3-8386-C0DF5FF5E438}" destId="{FFC2669E-6EFE-4306-9BF4-0E6FE39D4B43}" srcOrd="0" destOrd="0" presId="urn:microsoft.com/office/officeart/2005/8/layout/hList1"/>
    <dgm:cxn modelId="{7A5E2605-A38D-4B06-9760-57F2E366EC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Ampliación Viaducto La Caro: 79,56%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B7C50827-20C2-4D2A-9FB7-2EC56B3FDEE3}">
      <dgm:prSet phldrT="[Texto]"/>
      <dgm:spPr/>
      <dgm:t>
        <a:bodyPr/>
        <a:lstStyle/>
        <a:p>
          <a:r>
            <a:rPr lang="es-CO" dirty="0"/>
            <a:t>Construcción Puente peatonal Refisal: 31,70%</a:t>
          </a:r>
        </a:p>
      </dgm:t>
    </dgm:pt>
    <dgm:pt modelId="{6A48034B-E7C4-4516-B47E-085F67DA6C4F}" type="parTrans" cxnId="{A028E262-C35C-4510-8613-B66F7DF44D1B}">
      <dgm:prSet/>
      <dgm:spPr/>
      <dgm:t>
        <a:bodyPr/>
        <a:lstStyle/>
        <a:p>
          <a:endParaRPr lang="es-ES"/>
        </a:p>
      </dgm:t>
    </dgm:pt>
    <dgm:pt modelId="{DEAAC08C-5489-4CF0-9B3F-994E2838EE69}" type="sibTrans" cxnId="{A028E262-C35C-4510-8613-B66F7DF44D1B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ScaleY="104293" custLinFactNeighborY="-22723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ScaleY="88941" custLinFactNeighborY="-12245">
        <dgm:presLayoutVars>
          <dgm:bulletEnabled val="1"/>
        </dgm:presLayoutVars>
      </dgm:prSet>
      <dgm:spPr/>
    </dgm:pt>
  </dgm:ptLst>
  <dgm:cxnLst>
    <dgm:cxn modelId="{CC324708-0712-41B6-9047-5F10FCDBED06}" type="presOf" srcId="{62D32E80-FEA0-48C5-B4F3-D3A7B382CF4D}" destId="{AB09D624-FF1B-4987-8110-30D214096F41}" srcOrd="0" destOrd="0" presId="urn:microsoft.com/office/officeart/2005/8/layout/hList1"/>
    <dgm:cxn modelId="{A2E7DA42-3E00-40F5-B57D-417CBFDAA236}" type="presOf" srcId="{B7C50827-20C2-4D2A-9FB7-2EC56B3FDEE3}" destId="{AB09D624-FF1B-4987-8110-30D214096F41}" srcOrd="0" destOrd="1" presId="urn:microsoft.com/office/officeart/2005/8/layout/hList1"/>
    <dgm:cxn modelId="{6E5DEFC7-E143-4703-80C0-9812B361201D}" type="presOf" srcId="{3256AD19-79D9-4DD2-BD85-48D74080CB17}" destId="{FFC2669E-6EFE-4306-9BF4-0E6FE39D4B43}" srcOrd="0" destOrd="0" presId="urn:microsoft.com/office/officeart/2005/8/layout/hList1"/>
    <dgm:cxn modelId="{B79FFDFE-F8D2-40EB-B5E2-66DCAF6769C6}" type="presOf" srcId="{CF84DDC2-96BF-432F-AA37-B7281110F630}" destId="{351DADD5-826D-416B-84E5-26678C386891}" srcOrd="0" destOrd="0" presId="urn:microsoft.com/office/officeart/2005/8/layout/hList1"/>
    <dgm:cxn modelId="{A028E262-C35C-4510-8613-B66F7DF44D1B}" srcId="{3256AD19-79D9-4DD2-BD85-48D74080CB17}" destId="{B7C50827-20C2-4D2A-9FB7-2EC56B3FDEE3}" srcOrd="1" destOrd="0" parTransId="{6A48034B-E7C4-4516-B47E-085F67DA6C4F}" sibTransId="{DEAAC08C-5489-4CF0-9B3F-994E2838EE69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E067B514-6F4B-401C-AB07-57E3848363FA}" type="presParOf" srcId="{351DADD5-826D-416B-84E5-26678C386891}" destId="{78A07495-0AF3-45E3-8386-C0DF5FF5E438}" srcOrd="0" destOrd="0" presId="urn:microsoft.com/office/officeart/2005/8/layout/hList1"/>
    <dgm:cxn modelId="{E0A00B66-B581-4ECC-A6EC-A927D465BDF5}" type="presParOf" srcId="{78A07495-0AF3-45E3-8386-C0DF5FF5E438}" destId="{FFC2669E-6EFE-4306-9BF4-0E6FE39D4B43}" srcOrd="0" destOrd="0" presId="urn:microsoft.com/office/officeart/2005/8/layout/hList1"/>
    <dgm:cxn modelId="{FE16ECCB-6BEC-421A-B118-38CC40835F3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Adelantar tramite de reversión del proyecto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6CB4A46E-2021-49EF-9DFB-E7E4184231A4}">
      <dgm:prSet phldrT="[Texto]"/>
      <dgm:spPr/>
      <dgm:t>
        <a:bodyPr/>
        <a:lstStyle/>
        <a:p>
          <a:r>
            <a:rPr lang="es-CO" dirty="0"/>
            <a:t>Adelantar tramite de consecución de recursos para interventoría en etapa de liquidación del contrato  </a:t>
          </a:r>
        </a:p>
      </dgm:t>
    </dgm:pt>
    <dgm:pt modelId="{A7AC4478-8814-4A49-AEDF-62BC35BAE9E7}" type="parTrans" cxnId="{9BF51934-2DC0-426D-B667-038EF386D0CC}">
      <dgm:prSet/>
      <dgm:spPr/>
      <dgm:t>
        <a:bodyPr/>
        <a:lstStyle/>
        <a:p>
          <a:endParaRPr lang="es-ES"/>
        </a:p>
      </dgm:t>
    </dgm:pt>
    <dgm:pt modelId="{B181ABA9-E91E-4325-8C72-D70BD19FDED6}" type="sibTrans" cxnId="{9BF51934-2DC0-426D-B667-038EF386D0CC}">
      <dgm:prSet/>
      <dgm:spPr/>
      <dgm:t>
        <a:bodyPr/>
        <a:lstStyle/>
        <a:p>
          <a:endParaRPr lang="es-ES"/>
        </a:p>
      </dgm:t>
    </dgm:pt>
    <dgm:pt modelId="{43AB7467-00E5-4727-8C10-6181F7EE83A3}">
      <dgm:prSet phldrT="[Texto]"/>
      <dgm:spPr/>
      <dgm:t>
        <a:bodyPr/>
        <a:lstStyle/>
        <a:p>
          <a:r>
            <a:rPr lang="es-CO" dirty="0"/>
            <a:t>Adelantar tramite de identificación y evaluación de Puntos críticos No contractuales para atención por fondo de contingencias para mejorar las condiciones de seguridad y estado de la vía </a:t>
          </a:r>
        </a:p>
      </dgm:t>
    </dgm:pt>
    <dgm:pt modelId="{C0413A32-1E12-474A-8DC2-C51A12E4509B}" type="parTrans" cxnId="{E125E0DC-ECFF-43F4-A6E0-0653E31E4284}">
      <dgm:prSet/>
      <dgm:spPr/>
      <dgm:t>
        <a:bodyPr/>
        <a:lstStyle/>
        <a:p>
          <a:endParaRPr lang="es-ES"/>
        </a:p>
      </dgm:t>
    </dgm:pt>
    <dgm:pt modelId="{D4021DB9-D5F8-4EB4-A3D1-85D6475AF30A}" type="sibTrans" cxnId="{E125E0DC-ECFF-43F4-A6E0-0653E31E4284}">
      <dgm:prSet/>
      <dgm:spPr/>
      <dgm:t>
        <a:bodyPr/>
        <a:lstStyle/>
        <a:p>
          <a:endParaRPr lang="es-ES"/>
        </a:p>
      </dgm:t>
    </dgm:pt>
    <dgm:pt modelId="{D05DD995-5BAE-4ED9-9403-589528DEA255}">
      <dgm:prSet phldrT="[Texto]"/>
      <dgm:spPr/>
      <dgm:t>
        <a:bodyPr/>
        <a:lstStyle/>
        <a:p>
          <a:r>
            <a:rPr lang="es-CO" dirty="0"/>
            <a:t>Operar y mantener el Corredor (370 km)</a:t>
          </a:r>
        </a:p>
      </dgm:t>
    </dgm:pt>
    <dgm:pt modelId="{AFE7745F-9A68-4643-8088-C6E36CAA6A0F}" type="parTrans" cxnId="{D2D83CFE-9C97-4780-9D38-E98791A9E638}">
      <dgm:prSet/>
      <dgm:spPr/>
      <dgm:t>
        <a:bodyPr/>
        <a:lstStyle/>
        <a:p>
          <a:endParaRPr lang="es-ES"/>
        </a:p>
      </dgm:t>
    </dgm:pt>
    <dgm:pt modelId="{60E06622-7025-43E6-B4FB-D4F7DBFDA5D3}" type="sibTrans" cxnId="{D2D83CFE-9C97-4780-9D38-E98791A9E638}">
      <dgm:prSet/>
      <dgm:spPr/>
      <dgm:t>
        <a:bodyPr/>
        <a:lstStyle/>
        <a:p>
          <a:endParaRPr lang="es-ES"/>
        </a:p>
      </dgm:t>
    </dgm:pt>
    <dgm:pt modelId="{FD7D8A89-B5A2-4278-A5D5-2B2DE867C59A}">
      <dgm:prSet phldrT="[Texto]"/>
      <dgm:spPr/>
      <dgm:t>
        <a:bodyPr/>
        <a:lstStyle/>
        <a:p>
          <a:r>
            <a:rPr lang="es-CO" dirty="0"/>
            <a:t>Mejorar las condiciones de operación de la variante de Zipaquirá </a:t>
          </a:r>
        </a:p>
      </dgm:t>
    </dgm:pt>
    <dgm:pt modelId="{A5D65B1A-EBF8-415D-A3BA-769E9D6FC356}" type="parTrans" cxnId="{2B993B31-0514-4CB8-981D-96AD1CF14FDC}">
      <dgm:prSet/>
      <dgm:spPr/>
      <dgm:t>
        <a:bodyPr/>
        <a:lstStyle/>
        <a:p>
          <a:endParaRPr lang="es-ES"/>
        </a:p>
      </dgm:t>
    </dgm:pt>
    <dgm:pt modelId="{7811E41F-4912-4103-9075-D348D0CC80C9}" type="sibTrans" cxnId="{2B993B31-0514-4CB8-981D-96AD1CF14FDC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E125E0DC-ECFF-43F4-A6E0-0653E31E4284}" srcId="{3256AD19-79D9-4DD2-BD85-48D74080CB17}" destId="{43AB7467-00E5-4727-8C10-6181F7EE83A3}" srcOrd="1" destOrd="0" parTransId="{C0413A32-1E12-474A-8DC2-C51A12E4509B}" sibTransId="{D4021DB9-D5F8-4EB4-A3D1-85D6475AF30A}"/>
    <dgm:cxn modelId="{2B993B31-0514-4CB8-981D-96AD1CF14FDC}" srcId="{3256AD19-79D9-4DD2-BD85-48D74080CB17}" destId="{FD7D8A89-B5A2-4278-A5D5-2B2DE867C59A}" srcOrd="4" destOrd="0" parTransId="{A5D65B1A-EBF8-415D-A3BA-769E9D6FC356}" sibTransId="{7811E41F-4912-4103-9075-D348D0CC80C9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BBD86E37-FF32-46E0-92CE-421879942241}" type="presOf" srcId="{D05DD995-5BAE-4ED9-9403-589528DEA255}" destId="{AB09D624-FF1B-4987-8110-30D214096F41}" srcOrd="0" destOrd="3" presId="urn:microsoft.com/office/officeart/2005/8/layout/hList1"/>
    <dgm:cxn modelId="{382E7A39-A55F-4919-900F-32EB4F5817F6}" type="presOf" srcId="{62D32E80-FEA0-48C5-B4F3-D3A7B382CF4D}" destId="{AB09D624-FF1B-4987-8110-30D214096F41}" srcOrd="0" destOrd="0" presId="urn:microsoft.com/office/officeart/2005/8/layout/hList1"/>
    <dgm:cxn modelId="{DC6EDE92-01E2-4124-84B5-0B39506F56BD}" type="presOf" srcId="{43AB7467-00E5-4727-8C10-6181F7EE83A3}" destId="{AB09D624-FF1B-4987-8110-30D214096F41}" srcOrd="0" destOrd="1" presId="urn:microsoft.com/office/officeart/2005/8/layout/hList1"/>
    <dgm:cxn modelId="{D74CC33F-1007-4A1A-B734-2A634A1173A1}" type="presOf" srcId="{CF84DDC2-96BF-432F-AA37-B7281110F630}" destId="{351DADD5-826D-416B-84E5-26678C386891}" srcOrd="0" destOrd="0" presId="urn:microsoft.com/office/officeart/2005/8/layout/hList1"/>
    <dgm:cxn modelId="{D2D83CFE-9C97-4780-9D38-E98791A9E638}" srcId="{3256AD19-79D9-4DD2-BD85-48D74080CB17}" destId="{D05DD995-5BAE-4ED9-9403-589528DEA255}" srcOrd="3" destOrd="0" parTransId="{AFE7745F-9A68-4643-8088-C6E36CAA6A0F}" sibTransId="{60E06622-7025-43E6-B4FB-D4F7DBFDA5D3}"/>
    <dgm:cxn modelId="{9BF51934-2DC0-426D-B667-038EF386D0CC}" srcId="{3256AD19-79D9-4DD2-BD85-48D74080CB17}" destId="{6CB4A46E-2021-49EF-9DFB-E7E4184231A4}" srcOrd="2" destOrd="0" parTransId="{A7AC4478-8814-4A49-AEDF-62BC35BAE9E7}" sibTransId="{B181ABA9-E91E-4325-8C72-D70BD19FDED6}"/>
    <dgm:cxn modelId="{47E0DFEA-6850-43E0-8160-5D2A8BFA929A}" type="presOf" srcId="{FD7D8A89-B5A2-4278-A5D5-2B2DE867C59A}" destId="{AB09D624-FF1B-4987-8110-30D214096F41}" srcOrd="0" destOrd="4" presId="urn:microsoft.com/office/officeart/2005/8/layout/hList1"/>
    <dgm:cxn modelId="{DD9246A3-6A6C-4DEA-B091-7D1B937CAEBA}" type="presOf" srcId="{6CB4A46E-2021-49EF-9DFB-E7E4184231A4}" destId="{AB09D624-FF1B-4987-8110-30D214096F41}" srcOrd="0" destOrd="2" presId="urn:microsoft.com/office/officeart/2005/8/layout/hList1"/>
    <dgm:cxn modelId="{E4AA417C-E914-4846-AEC7-768C4C912DE7}" type="presOf" srcId="{3256AD19-79D9-4DD2-BD85-48D74080CB17}" destId="{FFC2669E-6EFE-4306-9BF4-0E6FE39D4B43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BEB97250-37D3-4A83-8509-35B6E4876C9C}" type="presParOf" srcId="{351DADD5-826D-416B-84E5-26678C386891}" destId="{78A07495-0AF3-45E3-8386-C0DF5FF5E438}" srcOrd="0" destOrd="0" presId="urn:microsoft.com/office/officeart/2005/8/layout/hList1"/>
    <dgm:cxn modelId="{8AD2C4C2-88D9-4DA1-9F66-539E29F9DF2C}" type="presParOf" srcId="{78A07495-0AF3-45E3-8386-C0DF5FF5E438}" destId="{FFC2669E-6EFE-4306-9BF4-0E6FE39D4B43}" srcOrd="0" destOrd="0" presId="urn:microsoft.com/office/officeart/2005/8/layout/hList1"/>
    <dgm:cxn modelId="{7A5E2605-A38D-4B06-9760-57F2E366EC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En junio de 2016 se solicitó a concesionario e interventoría iniciar el tramite de diligenciamiento de formatos de reversión en cada área ( documental, financiera, social, predial, ambiental, e inventarios de obras y estaciones de peaje y pesaje, se lleva un avance del 30% a agosto de 2016 ).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7937FD34-1A79-421F-ACF7-D05C05098BD4}">
      <dgm:prSet phldrT="[Texto]"/>
      <dgm:spPr/>
      <dgm:t>
        <a:bodyPr/>
        <a:lstStyle/>
        <a:p>
          <a:r>
            <a:rPr lang="es-CO" dirty="0"/>
            <a:t>Mediante Acta de entendimiento el 27 de mayo de 2016 la ANI ordeno al Concesionario iniciar los estudios y diseños para la atención de los Puntos Críticos No contractuales por un plazo de 3 meses ( con corte a agosto se tiene que el concesionario presento los diseños el 26 de agosto los cuales están siendo revisados por interventoría .</a:t>
          </a:r>
        </a:p>
      </dgm:t>
    </dgm:pt>
    <dgm:pt modelId="{C8713DBB-98A4-47D3-8FC4-DE25DF23FE68}" type="parTrans" cxnId="{801E97C6-F400-4DBB-A161-E07736E65CE4}">
      <dgm:prSet/>
      <dgm:spPr/>
      <dgm:t>
        <a:bodyPr/>
        <a:lstStyle/>
        <a:p>
          <a:endParaRPr lang="es-ES"/>
        </a:p>
      </dgm:t>
    </dgm:pt>
    <dgm:pt modelId="{64299369-11D8-4772-A3B5-4349E0B32082}" type="sibTrans" cxnId="{801E97C6-F400-4DBB-A161-E07736E65CE4}">
      <dgm:prSet/>
      <dgm:spPr/>
      <dgm:t>
        <a:bodyPr/>
        <a:lstStyle/>
        <a:p>
          <a:endParaRPr lang="es-ES"/>
        </a:p>
      </dgm:t>
    </dgm:pt>
    <dgm:pt modelId="{9EB0BD80-818B-4F2E-9617-8A62149451FD}">
      <dgm:prSet phldrT="[Texto]"/>
      <dgm:spPr/>
      <dgm:t>
        <a:bodyPr/>
        <a:lstStyle/>
        <a:p>
          <a:r>
            <a:rPr lang="es-CO" dirty="0"/>
            <a:t> Se trabajó con equipo de trabajo en la elaboración de insumos y justificación de otrosí para ampliación del alcance de la subcuenta de excedentes para disposición de otras obligaciones del proyecto incluidas el pago de supervisión e interventoría ( elaboración de bitácora ENC y demás soportes).</a:t>
          </a:r>
        </a:p>
      </dgm:t>
    </dgm:pt>
    <dgm:pt modelId="{9FA7545D-5DB3-4D59-9328-B126D172D78A}" type="parTrans" cxnId="{B46EB664-88F9-4323-B5AE-9FFAF52E3982}">
      <dgm:prSet/>
      <dgm:spPr/>
      <dgm:t>
        <a:bodyPr/>
        <a:lstStyle/>
        <a:p>
          <a:endParaRPr lang="es-ES"/>
        </a:p>
      </dgm:t>
    </dgm:pt>
    <dgm:pt modelId="{DABDBF83-8223-4E37-9A21-28B24D86F2D0}" type="sibTrans" cxnId="{B46EB664-88F9-4323-B5AE-9FFAF52E3982}">
      <dgm:prSet/>
      <dgm:spPr/>
      <dgm:t>
        <a:bodyPr/>
        <a:lstStyle/>
        <a:p>
          <a:endParaRPr lang="es-ES"/>
        </a:p>
      </dgm:t>
    </dgm:pt>
    <dgm:pt modelId="{799BD478-9107-4345-9482-14324AE76415}">
      <dgm:prSet phldrT="[Texto]"/>
      <dgm:spPr/>
      <dgm:t>
        <a:bodyPr/>
        <a:lstStyle/>
        <a:p>
          <a:r>
            <a:rPr lang="es-CO" dirty="0"/>
            <a:t>Se realizaron los trabajos de operación y mantenimiento del corredor ( mejoras en señalización, demarcación operación de peajes , atención de emergencias y demás en los 370km).</a:t>
          </a:r>
        </a:p>
      </dgm:t>
    </dgm:pt>
    <dgm:pt modelId="{BD64EDB7-3B4B-42A6-B206-DA4D6CB01AB0}" type="parTrans" cxnId="{0E847437-E4E6-4CF5-B321-F3420A55D9B6}">
      <dgm:prSet/>
      <dgm:spPr/>
      <dgm:t>
        <a:bodyPr/>
        <a:lstStyle/>
        <a:p>
          <a:endParaRPr lang="es-ES"/>
        </a:p>
      </dgm:t>
    </dgm:pt>
    <dgm:pt modelId="{C232E961-BA5E-49F5-ACA4-C0D83807A51E}" type="sibTrans" cxnId="{0E847437-E4E6-4CF5-B321-F3420A55D9B6}">
      <dgm:prSet/>
      <dgm:spPr/>
      <dgm:t>
        <a:bodyPr/>
        <a:lstStyle/>
        <a:p>
          <a:endParaRPr lang="es-ES"/>
        </a:p>
      </dgm:t>
    </dgm:pt>
    <dgm:pt modelId="{24C314B4-D9CB-43F3-BD7C-15EDC92B8C49}">
      <dgm:prSet phldrT="[Texto]"/>
      <dgm:spPr/>
      <dgm:t>
        <a:bodyPr/>
        <a:lstStyle/>
        <a:p>
          <a:r>
            <a:rPr lang="es-CO" dirty="0"/>
            <a:t>A lo largo del mes de Abril y Mayo de 2016 el Concesionario una vez llevadas acabo reuniones y mesas de trabajo con las autoridades locales, autoridades de transito , Ministerio de Transporte realizaron los ajustes en la señalización  ( cambio de señales y cambio de demarcación indicando a los usuarios el sentido de la variante Bogotá- Ubate ( previa aprobación de la secretaría de transito del municipio de Zipaquirá, la cual se mantendrá hasta que entre en vigencia el nuevo proyecto de concesión en este sector. </a:t>
          </a:r>
        </a:p>
      </dgm:t>
    </dgm:pt>
    <dgm:pt modelId="{1B1A11C6-CC21-49E0-B08D-315327D89116}" type="parTrans" cxnId="{C58D488D-01FE-424B-AC33-2011B8918477}">
      <dgm:prSet/>
      <dgm:spPr/>
      <dgm:t>
        <a:bodyPr/>
        <a:lstStyle/>
        <a:p>
          <a:endParaRPr lang="es-ES"/>
        </a:p>
      </dgm:t>
    </dgm:pt>
    <dgm:pt modelId="{99B78DB9-01C5-402A-9BAC-C7DD2E3C85E5}" type="sibTrans" cxnId="{C58D488D-01FE-424B-AC33-2011B8918477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-5093" custLinFactNeighborY="16992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-1323" custLinFactNeighborY="-1000">
        <dgm:presLayoutVars>
          <dgm:bulletEnabled val="1"/>
        </dgm:presLayoutVars>
      </dgm:prSet>
      <dgm:spPr/>
    </dgm:pt>
  </dgm:ptLst>
  <dgm:cxnLst>
    <dgm:cxn modelId="{B46EB664-88F9-4323-B5AE-9FFAF52E3982}" srcId="{3256AD19-79D9-4DD2-BD85-48D74080CB17}" destId="{9EB0BD80-818B-4F2E-9617-8A62149451FD}" srcOrd="2" destOrd="0" parTransId="{9FA7545D-5DB3-4D59-9328-B126D172D78A}" sibTransId="{DABDBF83-8223-4E37-9A21-28B24D86F2D0}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5EB84B4B-00D5-4788-ACF7-6E410B32428B}" type="presOf" srcId="{24C314B4-D9CB-43F3-BD7C-15EDC92B8C49}" destId="{AB09D624-FF1B-4987-8110-30D214096F41}" srcOrd="0" destOrd="4" presId="urn:microsoft.com/office/officeart/2005/8/layout/hList1"/>
    <dgm:cxn modelId="{7BB21C34-0EC8-4F50-B5B1-22570AB44BB2}" type="presOf" srcId="{7937FD34-1A79-421F-ACF7-D05C05098BD4}" destId="{AB09D624-FF1B-4987-8110-30D214096F41}" srcOrd="0" destOrd="1" presId="urn:microsoft.com/office/officeart/2005/8/layout/hList1"/>
    <dgm:cxn modelId="{0E847437-E4E6-4CF5-B321-F3420A55D9B6}" srcId="{3256AD19-79D9-4DD2-BD85-48D74080CB17}" destId="{799BD478-9107-4345-9482-14324AE76415}" srcOrd="3" destOrd="0" parTransId="{BD64EDB7-3B4B-42A6-B206-DA4D6CB01AB0}" sibTransId="{C232E961-BA5E-49F5-ACA4-C0D83807A51E}"/>
    <dgm:cxn modelId="{B79FFDFE-F8D2-40EB-B5E2-66DCAF6769C6}" type="presOf" srcId="{CF84DDC2-96BF-432F-AA37-B7281110F630}" destId="{351DADD5-826D-416B-84E5-26678C386891}" srcOrd="0" destOrd="0" presId="urn:microsoft.com/office/officeart/2005/8/layout/hList1"/>
    <dgm:cxn modelId="{5D00E385-AB2B-47B8-8289-1D22F004FBDB}" type="presOf" srcId="{799BD478-9107-4345-9482-14324AE76415}" destId="{AB09D624-FF1B-4987-8110-30D214096F41}" srcOrd="0" destOrd="3" presId="urn:microsoft.com/office/officeart/2005/8/layout/hList1"/>
    <dgm:cxn modelId="{8B38BF0D-F629-487F-9BDA-02C270F96E33}" type="presOf" srcId="{9EB0BD80-818B-4F2E-9617-8A62149451FD}" destId="{AB09D624-FF1B-4987-8110-30D214096F41}" srcOrd="0" destOrd="2" presId="urn:microsoft.com/office/officeart/2005/8/layout/hList1"/>
    <dgm:cxn modelId="{6E5DEFC7-E143-4703-80C0-9812B361201D}" type="presOf" srcId="{3256AD19-79D9-4DD2-BD85-48D74080CB17}" destId="{FFC2669E-6EFE-4306-9BF4-0E6FE39D4B43}" srcOrd="0" destOrd="0" presId="urn:microsoft.com/office/officeart/2005/8/layout/hList1"/>
    <dgm:cxn modelId="{CC324708-0712-41B6-9047-5F10FCDBED06}" type="presOf" srcId="{62D32E80-FEA0-48C5-B4F3-D3A7B382CF4D}" destId="{AB09D624-FF1B-4987-8110-30D214096F41}" srcOrd="0" destOrd="0" presId="urn:microsoft.com/office/officeart/2005/8/layout/hList1"/>
    <dgm:cxn modelId="{C58D488D-01FE-424B-AC33-2011B8918477}" srcId="{3256AD19-79D9-4DD2-BD85-48D74080CB17}" destId="{24C314B4-D9CB-43F3-BD7C-15EDC92B8C49}" srcOrd="4" destOrd="0" parTransId="{1B1A11C6-CC21-49E0-B08D-315327D89116}" sibTransId="{99B78DB9-01C5-402A-9BAC-C7DD2E3C85E5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801E97C6-F400-4DBB-A161-E07736E65CE4}" srcId="{3256AD19-79D9-4DD2-BD85-48D74080CB17}" destId="{7937FD34-1A79-421F-ACF7-D05C05098BD4}" srcOrd="1" destOrd="0" parTransId="{C8713DBB-98A4-47D3-8FC4-DE25DF23FE68}" sibTransId="{64299369-11D8-4772-A3B5-4349E0B32082}"/>
    <dgm:cxn modelId="{E067B514-6F4B-401C-AB07-57E3848363FA}" type="presParOf" srcId="{351DADD5-826D-416B-84E5-26678C386891}" destId="{78A07495-0AF3-45E3-8386-C0DF5FF5E438}" srcOrd="0" destOrd="0" presId="urn:microsoft.com/office/officeart/2005/8/layout/hList1"/>
    <dgm:cxn modelId="{E0A00B66-B581-4ECC-A6EC-A927D465BDF5}" type="presParOf" srcId="{78A07495-0AF3-45E3-8386-C0DF5FF5E438}" destId="{FFC2669E-6EFE-4306-9BF4-0E6FE39D4B43}" srcOrd="0" destOrd="0" presId="urn:microsoft.com/office/officeart/2005/8/layout/hList1"/>
    <dgm:cxn modelId="{FE16ECCB-6BEC-421A-B118-38CC40835F3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5,40 Km de Segunda </a:t>
          </a:r>
          <a:br>
            <a:rPr lang="es-CO" dirty="0"/>
          </a:br>
          <a:r>
            <a:rPr lang="es-CO" dirty="0"/>
            <a:t>Calzada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15875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</dgm:pt>
  </dgm:ptLst>
  <dgm:cxnLst>
    <dgm:cxn modelId="{CC324708-0712-41B6-9047-5F10FCDBED06}" type="presOf" srcId="{62D32E80-FEA0-48C5-B4F3-D3A7B382CF4D}" destId="{AB09D624-FF1B-4987-8110-30D214096F41}" srcOrd="0" destOrd="0" presId="urn:microsoft.com/office/officeart/2005/8/layout/hList1"/>
    <dgm:cxn modelId="{6E5DEFC7-E143-4703-80C0-9812B361201D}" type="presOf" srcId="{3256AD19-79D9-4DD2-BD85-48D74080CB17}" destId="{FFC2669E-6EFE-4306-9BF4-0E6FE39D4B43}" srcOrd="0" destOrd="0" presId="urn:microsoft.com/office/officeart/2005/8/layout/hList1"/>
    <dgm:cxn modelId="{B79FFDFE-F8D2-40EB-B5E2-66DCAF6769C6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E067B514-6F4B-401C-AB07-57E3848363FA}" type="presParOf" srcId="{351DADD5-826D-416B-84E5-26678C386891}" destId="{78A07495-0AF3-45E3-8386-C0DF5FF5E438}" srcOrd="0" destOrd="0" presId="urn:microsoft.com/office/officeart/2005/8/layout/hList1"/>
    <dgm:cxn modelId="{E0A00B66-B581-4ECC-A6EC-A927D465BDF5}" type="presParOf" srcId="{78A07495-0AF3-45E3-8386-C0DF5FF5E438}" destId="{FFC2669E-6EFE-4306-9BF4-0E6FE39D4B43}" srcOrd="0" destOrd="0" presId="urn:microsoft.com/office/officeart/2005/8/layout/hList1"/>
    <dgm:cxn modelId="{FE16ECCB-6BEC-421A-B118-38CC40835F3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/>
      <dgm:spPr/>
      <dgm:t>
        <a:bodyPr/>
        <a:lstStyle/>
        <a:p>
          <a:r>
            <a:rPr lang="es-CO" dirty="0"/>
            <a:t>Metas 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50,381 km 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D66F119-4BAE-4C79-911C-BC0721EE846F}">
      <dgm:prSet phldrT="[Texto]"/>
      <dgm:spPr/>
      <dgm:t>
        <a:bodyPr/>
        <a:lstStyle/>
        <a:p>
          <a:r>
            <a:rPr lang="es-CO" dirty="0"/>
            <a:t>Mejoramiento: 18,072 km</a:t>
          </a:r>
        </a:p>
      </dgm:t>
    </dgm:pt>
    <dgm:pt modelId="{F682A174-FDE9-42B0-868B-DC03E551265E}" type="parTrans" cxnId="{47EBDB42-7505-4A7E-A352-1070BBC7E76B}">
      <dgm:prSet/>
      <dgm:spPr/>
      <dgm:t>
        <a:bodyPr/>
        <a:lstStyle/>
        <a:p>
          <a:endParaRPr lang="es-CO"/>
        </a:p>
      </dgm:t>
    </dgm:pt>
    <dgm:pt modelId="{181BCAE3-D1F8-4C81-AA09-09AA92745C84}" type="sibTrans" cxnId="{47EBDB42-7505-4A7E-A352-1070BBC7E76B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-2218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E4AA417C-E914-4846-AEC7-768C4C912DE7}" type="presOf" srcId="{3256AD19-79D9-4DD2-BD85-48D74080CB17}" destId="{FFC2669E-6EFE-4306-9BF4-0E6FE39D4B43}" srcOrd="0" destOrd="0" presId="urn:microsoft.com/office/officeart/2005/8/layout/hList1"/>
    <dgm:cxn modelId="{382E7A39-A55F-4919-900F-32EB4F5817F6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AD2B8C05-FF05-481D-80C0-31B2F8F9DCDA}" type="presOf" srcId="{8D66F119-4BAE-4C79-911C-BC0721EE846F}" destId="{AB09D624-FF1B-4987-8110-30D214096F41}" srcOrd="0" destOrd="1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74CC33F-1007-4A1A-B734-2A634A1173A1}" type="presOf" srcId="{CF84DDC2-96BF-432F-AA37-B7281110F630}" destId="{351DADD5-826D-416B-84E5-26678C386891}" srcOrd="0" destOrd="0" presId="urn:microsoft.com/office/officeart/2005/8/layout/hList1"/>
    <dgm:cxn modelId="{47EBDB42-7505-4A7E-A352-1070BBC7E76B}" srcId="{3256AD19-79D9-4DD2-BD85-48D74080CB17}" destId="{8D66F119-4BAE-4C79-911C-BC0721EE846F}" srcOrd="1" destOrd="0" parTransId="{F682A174-FDE9-42B0-868B-DC03E551265E}" sibTransId="{181BCAE3-D1F8-4C81-AA09-09AA92745C84}"/>
    <dgm:cxn modelId="{BEB97250-37D3-4A83-8509-35B6E4876C9C}" type="presParOf" srcId="{351DADD5-826D-416B-84E5-26678C386891}" destId="{78A07495-0AF3-45E3-8386-C0DF5FF5E438}" srcOrd="0" destOrd="0" presId="urn:microsoft.com/office/officeart/2005/8/layout/hList1"/>
    <dgm:cxn modelId="{8AD2C4C2-88D9-4DA1-9F66-539E29F9DF2C}" type="presParOf" srcId="{78A07495-0AF3-45E3-8386-C0DF5FF5E438}" destId="{FFC2669E-6EFE-4306-9BF4-0E6FE39D4B43}" srcOrd="0" destOrd="0" presId="urn:microsoft.com/office/officeart/2005/8/layout/hList1"/>
    <dgm:cxn modelId="{7A5E2605-A38D-4B06-9760-57F2E366EC9F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500" dirty="0"/>
            <a:t>Avances</a:t>
          </a:r>
          <a:endParaRPr lang="es-CO" sz="1000" dirty="0"/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 custT="1"/>
      <dgm:spPr/>
      <dgm:t>
        <a:bodyPr/>
        <a:lstStyle/>
        <a:p>
          <a:pPr algn="l"/>
          <a:r>
            <a:rPr lang="es-CO" sz="2100" dirty="0"/>
            <a:t>Construcción segunda calzada: 13,72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0E5B466C-9D22-4995-9FA0-E32DB0043248}">
      <dgm:prSet phldrT="[Texto]" custT="1"/>
      <dgm:spPr/>
      <dgm:t>
        <a:bodyPr/>
        <a:lstStyle/>
        <a:p>
          <a:pPr algn="l"/>
          <a:r>
            <a:rPr lang="es-CO" sz="2100" dirty="0"/>
            <a:t>Mejoramiento: 15,62 km</a:t>
          </a:r>
        </a:p>
      </dgm:t>
    </dgm:pt>
    <dgm:pt modelId="{55962AC5-626B-41C3-8654-56EB82329165}" type="parTrans" cxnId="{1A47FB14-AEDD-49CB-A23D-E8CF3E03D5C9}">
      <dgm:prSet/>
      <dgm:spPr/>
      <dgm:t>
        <a:bodyPr/>
        <a:lstStyle/>
        <a:p>
          <a:endParaRPr lang="es-CO"/>
        </a:p>
      </dgm:t>
    </dgm:pt>
    <dgm:pt modelId="{8D463190-FFA3-4048-80B8-055A08667A06}" type="sibTrans" cxnId="{1A47FB14-AEDD-49CB-A23D-E8CF3E03D5C9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821" custLinFactNeighborY="-45242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602" custLinFactNeighborY="-8497">
        <dgm:presLayoutVars>
          <dgm:bulletEnabled val="1"/>
        </dgm:presLayoutVars>
      </dgm:prSet>
      <dgm:spPr/>
    </dgm:pt>
  </dgm:ptLst>
  <dgm:cxnLst>
    <dgm:cxn modelId="{CC324708-0712-41B6-9047-5F10FCDBED06}" type="presOf" srcId="{62D32E80-FEA0-48C5-B4F3-D3A7B382CF4D}" destId="{AB09D624-FF1B-4987-8110-30D214096F41}" srcOrd="0" destOrd="0" presId="urn:microsoft.com/office/officeart/2005/8/layout/hList1"/>
    <dgm:cxn modelId="{6E5DEFC7-E143-4703-80C0-9812B361201D}" type="presOf" srcId="{3256AD19-79D9-4DD2-BD85-48D74080CB17}" destId="{FFC2669E-6EFE-4306-9BF4-0E6FE39D4B43}" srcOrd="0" destOrd="0" presId="urn:microsoft.com/office/officeart/2005/8/layout/hList1"/>
    <dgm:cxn modelId="{1A47FB14-AEDD-49CB-A23D-E8CF3E03D5C9}" srcId="{3256AD19-79D9-4DD2-BD85-48D74080CB17}" destId="{0E5B466C-9D22-4995-9FA0-E32DB0043248}" srcOrd="1" destOrd="0" parTransId="{55962AC5-626B-41C3-8654-56EB82329165}" sibTransId="{8D463190-FFA3-4048-80B8-055A08667A06}"/>
    <dgm:cxn modelId="{B79FFDFE-F8D2-40EB-B5E2-66DCAF6769C6}" type="presOf" srcId="{CF84DDC2-96BF-432F-AA37-B7281110F630}" destId="{351DADD5-826D-416B-84E5-26678C386891}" srcOrd="0" destOrd="0" presId="urn:microsoft.com/office/officeart/2005/8/layout/hList1"/>
    <dgm:cxn modelId="{1D757AA2-29DB-4DE1-B1D1-9D6127B5D1B0}" type="presOf" srcId="{0E5B466C-9D22-4995-9FA0-E32DB0043248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E067B514-6F4B-401C-AB07-57E3848363FA}" type="presParOf" srcId="{351DADD5-826D-416B-84E5-26678C386891}" destId="{78A07495-0AF3-45E3-8386-C0DF5FF5E438}" srcOrd="0" destOrd="0" presId="urn:microsoft.com/office/officeart/2005/8/layout/hList1"/>
    <dgm:cxn modelId="{E0A00B66-B581-4ECC-A6EC-A927D465BDF5}" type="presParOf" srcId="{78A07495-0AF3-45E3-8386-C0DF5FF5E438}" destId="{FFC2669E-6EFE-4306-9BF4-0E6FE39D4B43}" srcOrd="0" destOrd="0" presId="urn:microsoft.com/office/officeart/2005/8/layout/hList1"/>
    <dgm:cxn modelId="{FE16ECCB-6BEC-421A-B118-38CC40835F3D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13,85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1134" custLinFactNeighborY="-17008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A45CB604-ECE9-4E44-81B0-4C70F11929A2}" type="presOf" srcId="{62D32E80-FEA0-48C5-B4F3-D3A7B382CF4D}" destId="{AB09D624-FF1B-4987-8110-30D214096F41}" srcOrd="0" destOrd="0" presId="urn:microsoft.com/office/officeart/2005/8/layout/hList1"/>
    <dgm:cxn modelId="{17491AD5-A4FB-4C16-A51A-81259338289C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58C43BCF-5D3B-4151-9E43-93A7CF40CECF}" type="presOf" srcId="{3256AD19-79D9-4DD2-BD85-48D74080CB17}" destId="{FFC2669E-6EFE-4306-9BF4-0E6FE39D4B43}" srcOrd="0" destOrd="0" presId="urn:microsoft.com/office/officeart/2005/8/layout/hList1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AF3C4A7F-CCD4-4622-A084-585BFD6EAFF6}" type="presParOf" srcId="{351DADD5-826D-416B-84E5-26678C386891}" destId="{78A07495-0AF3-45E3-8386-C0DF5FF5E438}" srcOrd="0" destOrd="0" presId="urn:microsoft.com/office/officeart/2005/8/layout/hList1"/>
    <dgm:cxn modelId="{20A57A15-19F1-416D-BC81-64626737F9D0}" type="presParOf" srcId="{78A07495-0AF3-45E3-8386-C0DF5FF5E438}" destId="{FFC2669E-6EFE-4306-9BF4-0E6FE39D4B43}" srcOrd="0" destOrd="0" presId="urn:microsoft.com/office/officeart/2005/8/layout/hList1"/>
    <dgm:cxn modelId="{79E83B83-6085-4C07-8356-153FBDBC70EA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0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14759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661" custLinFactNeighborY="2591">
        <dgm:presLayoutVars>
          <dgm:bulletEnabled val="1"/>
        </dgm:presLayoutVars>
      </dgm:prSet>
      <dgm:spPr/>
    </dgm:pt>
  </dgm:ptLst>
  <dgm:cxnLst>
    <dgm:cxn modelId="{7DFB0598-1A5C-45F6-B8E8-9E0E0F77E9A3}" type="presOf" srcId="{62D32E80-FEA0-48C5-B4F3-D3A7B382CF4D}" destId="{AB09D624-FF1B-4987-8110-30D214096F41}" srcOrd="0" destOrd="0" presId="urn:microsoft.com/office/officeart/2005/8/layout/hList1"/>
    <dgm:cxn modelId="{5CFF5632-A083-49C5-96EB-B871DDCA2658}" type="presOf" srcId="{CF84DDC2-96BF-432F-AA37-B7281110F630}" destId="{351DADD5-826D-416B-84E5-26678C386891}" srcOrd="0" destOrd="0" presId="urn:microsoft.com/office/officeart/2005/8/layout/hList1"/>
    <dgm:cxn modelId="{45621DCB-4622-4469-9262-8E51E8EF63C7}" type="presOf" srcId="{3256AD19-79D9-4DD2-BD85-48D74080CB17}" destId="{FFC2669E-6EFE-4306-9BF4-0E6FE39D4B43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D58B2DA4-247F-4001-A1DA-77F6E37F4CB5}" type="presParOf" srcId="{351DADD5-826D-416B-84E5-26678C386891}" destId="{78A07495-0AF3-45E3-8386-C0DF5FF5E438}" srcOrd="0" destOrd="0" presId="urn:microsoft.com/office/officeart/2005/8/layout/hList1"/>
    <dgm:cxn modelId="{7436EBFB-C3C2-401F-9DAC-DE771ABCC5C2}" type="presParOf" srcId="{78A07495-0AF3-45E3-8386-C0DF5FF5E438}" destId="{FFC2669E-6EFE-4306-9BF4-0E6FE39D4B43}" srcOrd="0" destOrd="0" presId="urn:microsoft.com/office/officeart/2005/8/layout/hList1"/>
    <dgm:cxn modelId="{6CF274F0-8762-4D27-AB3B-7CE67D9CEA91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CO" dirty="0"/>
            <a:t>Construcción Segunda Calzada: 15,11 km</a:t>
          </a: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BA39C4A-810C-4796-B8B1-4A8CACD20CBC}">
      <dgm:prSet phldrT="[Texto]"/>
      <dgm:spPr/>
      <dgm:t>
        <a:bodyPr/>
        <a:lstStyle/>
        <a:p>
          <a:r>
            <a:rPr lang="es-CO" dirty="0"/>
            <a:t>Construcción Doble Calzada: </a:t>
          </a:r>
          <a:r>
            <a:rPr lang="es-ES" dirty="0"/>
            <a:t>7,05 Km</a:t>
          </a:r>
        </a:p>
      </dgm:t>
    </dgm:pt>
    <dgm:pt modelId="{F1FE0F2E-3871-4A29-B26E-FD568D86153B}" type="parTrans" cxnId="{407141A3-4745-4B5C-A0F7-B78C6F37F7C8}">
      <dgm:prSet/>
      <dgm:spPr/>
      <dgm:t>
        <a:bodyPr/>
        <a:lstStyle/>
        <a:p>
          <a:endParaRPr lang="es-ES"/>
        </a:p>
      </dgm:t>
    </dgm:pt>
    <dgm:pt modelId="{74D5557C-F1FE-4E5A-96BC-307DB7C4F64D}" type="sibTrans" cxnId="{407141A3-4745-4B5C-A0F7-B78C6F37F7C8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19329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-1974" custLinFactNeighborY="8272">
        <dgm:presLayoutVars>
          <dgm:bulletEnabled val="1"/>
        </dgm:presLayoutVars>
      </dgm:prSet>
      <dgm:spPr/>
    </dgm:pt>
  </dgm:ptLst>
  <dgm:cxnLst>
    <dgm:cxn modelId="{C30A5DBE-5D19-4ADC-810B-B75FE2BEFBC9}" type="presOf" srcId="{62D32E80-FEA0-48C5-B4F3-D3A7B382CF4D}" destId="{AB09D624-FF1B-4987-8110-30D214096F41}" srcOrd="0" destOrd="0" presId="urn:microsoft.com/office/officeart/2005/8/layout/hList1"/>
    <dgm:cxn modelId="{94556A9A-90F5-4F5F-B141-37C9F0D849BD}" type="presOf" srcId="{8BA39C4A-810C-4796-B8B1-4A8CACD20CBC}" destId="{AB09D624-FF1B-4987-8110-30D214096F41}" srcOrd="0" destOrd="1" presId="urn:microsoft.com/office/officeart/2005/8/layout/hList1"/>
    <dgm:cxn modelId="{A6ED13DF-21AF-463A-A39E-BD02C9EF34CE}" type="presOf" srcId="{CF84DDC2-96BF-432F-AA37-B7281110F630}" destId="{351DADD5-826D-416B-84E5-26678C38689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407141A3-4745-4B5C-A0F7-B78C6F37F7C8}" srcId="{3256AD19-79D9-4DD2-BD85-48D74080CB17}" destId="{8BA39C4A-810C-4796-B8B1-4A8CACD20CBC}" srcOrd="1" destOrd="0" parTransId="{F1FE0F2E-3871-4A29-B26E-FD568D86153B}" sibTransId="{74D5557C-F1FE-4E5A-96BC-307DB7C4F64D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CE8EEA63-3F16-42AD-A03C-9AB7B82F31DB}" type="presOf" srcId="{3256AD19-79D9-4DD2-BD85-48D74080CB17}" destId="{FFC2669E-6EFE-4306-9BF4-0E6FE39D4B43}" srcOrd="0" destOrd="0" presId="urn:microsoft.com/office/officeart/2005/8/layout/hList1"/>
    <dgm:cxn modelId="{3FED0244-413B-4371-9EE0-EFF6CE1A5F39}" type="presParOf" srcId="{351DADD5-826D-416B-84E5-26678C386891}" destId="{78A07495-0AF3-45E3-8386-C0DF5FF5E438}" srcOrd="0" destOrd="0" presId="urn:microsoft.com/office/officeart/2005/8/layout/hList1"/>
    <dgm:cxn modelId="{BC7F62B4-63C3-4138-ABD1-D4587B597484}" type="presParOf" srcId="{78A07495-0AF3-45E3-8386-C0DF5FF5E438}" destId="{FFC2669E-6EFE-4306-9BF4-0E6FE39D4B43}" srcOrd="0" destOrd="0" presId="urn:microsoft.com/office/officeart/2005/8/layout/hList1"/>
    <dgm:cxn modelId="{B652C58D-5F94-4C08-A88A-BDFD35B3B5A6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s-CO" sz="2400" dirty="0"/>
            <a:t>Avance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pt-BR" b="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</a:t>
          </a:r>
          <a:r>
            <a:rPr lang="pt-BR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Segunda </a:t>
          </a:r>
          <a:r>
            <a:rPr lang="pt-BR" b="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alzada</a:t>
          </a:r>
          <a:r>
            <a:rPr lang="pt-BR" b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: 8,06 km</a:t>
          </a:r>
          <a:endParaRPr lang="es-CO" dirty="0"/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EB957D9F-E14F-4FDF-8082-F11C5EC81A44}">
      <dgm:prSet/>
      <dgm:spPr/>
      <dgm:t>
        <a:bodyPr/>
        <a:lstStyle/>
        <a:p>
          <a:r>
            <a:rPr lang="es-ES" dirty="0"/>
            <a:t>Construcción Doble Calzada: 7,05 Km</a:t>
          </a:r>
        </a:p>
      </dgm:t>
    </dgm:pt>
    <dgm:pt modelId="{B6F83E32-CD1A-42BD-951A-819ABDACBA5F}" type="parTrans" cxnId="{9A574106-D93A-4AFF-A9C0-C8CCD253549F}">
      <dgm:prSet/>
      <dgm:spPr/>
      <dgm:t>
        <a:bodyPr/>
        <a:lstStyle/>
        <a:p>
          <a:endParaRPr lang="es-ES"/>
        </a:p>
      </dgm:t>
    </dgm:pt>
    <dgm:pt modelId="{5BD0EA8E-BA81-4878-8B06-50C4FDC5CBB2}" type="sibTrans" cxnId="{9A574106-D93A-4AFF-A9C0-C8CCD253549F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Y="9453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894" custLinFactNeighborY="-1482">
        <dgm:presLayoutVars>
          <dgm:bulletEnabled val="1"/>
        </dgm:presLayoutVars>
      </dgm:prSet>
      <dgm:spPr/>
    </dgm:pt>
  </dgm:ptLst>
  <dgm:cxnLst>
    <dgm:cxn modelId="{2B124FF2-0A77-4A81-878F-D9B5492F6C31}" type="presOf" srcId="{CF84DDC2-96BF-432F-AA37-B7281110F630}" destId="{351DADD5-826D-416B-84E5-26678C386891}" srcOrd="0" destOrd="0" presId="urn:microsoft.com/office/officeart/2005/8/layout/hList1"/>
    <dgm:cxn modelId="{E7C2A159-F36D-4277-AB93-D9C61FE11AA1}" type="presOf" srcId="{3256AD19-79D9-4DD2-BD85-48D74080CB17}" destId="{FFC2669E-6EFE-4306-9BF4-0E6FE39D4B43}" srcOrd="0" destOrd="0" presId="urn:microsoft.com/office/officeart/2005/8/layout/hList1"/>
    <dgm:cxn modelId="{39232497-8F8B-4E6C-9C5E-CEABD3CE3BC7}" type="presOf" srcId="{EB957D9F-E14F-4FDF-8082-F11C5EC81A44}" destId="{AB09D624-FF1B-4987-8110-30D214096F41}" srcOrd="0" destOrd="1" presId="urn:microsoft.com/office/officeart/2005/8/layout/hList1"/>
    <dgm:cxn modelId="{ED44A82B-1E4C-45BC-874E-765DDC87333B}" type="presOf" srcId="{62D32E80-FEA0-48C5-B4F3-D3A7B382CF4D}" destId="{AB09D624-FF1B-4987-8110-30D214096F41}" srcOrd="0" destOrd="0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9A574106-D93A-4AFF-A9C0-C8CCD253549F}" srcId="{3256AD19-79D9-4DD2-BD85-48D74080CB17}" destId="{EB957D9F-E14F-4FDF-8082-F11C5EC81A44}" srcOrd="1" destOrd="0" parTransId="{B6F83E32-CD1A-42BD-951A-819ABDACBA5F}" sibTransId="{5BD0EA8E-BA81-4878-8B06-50C4FDC5CBB2}"/>
    <dgm:cxn modelId="{2E994CE4-75A4-48FB-9434-B49DFFDEB8E7}" type="presParOf" srcId="{351DADD5-826D-416B-84E5-26678C386891}" destId="{78A07495-0AF3-45E3-8386-C0DF5FF5E438}" srcOrd="0" destOrd="0" presId="urn:microsoft.com/office/officeart/2005/8/layout/hList1"/>
    <dgm:cxn modelId="{0A5C9F69-1E77-46F7-9447-4F99D18823B4}" type="presParOf" srcId="{78A07495-0AF3-45E3-8386-C0DF5FF5E438}" destId="{FFC2669E-6EFE-4306-9BF4-0E6FE39D4B43}" srcOrd="0" destOrd="0" presId="urn:microsoft.com/office/officeart/2005/8/layout/hList1"/>
    <dgm:cxn modelId="{0C4A0508-CC4B-48C0-8454-7D7EFAEADAE5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F84DDC2-96BF-432F-AA37-B7281110F6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CO"/>
        </a:p>
      </dgm:t>
    </dgm:pt>
    <dgm:pt modelId="{3256AD19-79D9-4DD2-BD85-48D74080CB17}">
      <dgm:prSet phldrT="[Texto]" custT="1"/>
      <dgm:spPr/>
      <dgm:t>
        <a:bodyPr/>
        <a:lstStyle/>
        <a:p>
          <a:r>
            <a:rPr lang="es-CO" sz="2400" dirty="0"/>
            <a:t>Metas</a:t>
          </a:r>
        </a:p>
      </dgm:t>
    </dgm:pt>
    <dgm:pt modelId="{7DA4D0C4-FD1C-4D6C-8407-4B2B82955CE2}" type="parTrans" cxnId="{E63772DA-91E4-47D3-BBD9-4D58BB219590}">
      <dgm:prSet/>
      <dgm:spPr/>
      <dgm:t>
        <a:bodyPr/>
        <a:lstStyle/>
        <a:p>
          <a:endParaRPr lang="es-CO"/>
        </a:p>
      </dgm:t>
    </dgm:pt>
    <dgm:pt modelId="{2AA69E1A-9C08-43D7-9BE4-98EA34CDC131}" type="sibTrans" cxnId="{E63772DA-91E4-47D3-BBD9-4D58BB219590}">
      <dgm:prSet/>
      <dgm:spPr/>
      <dgm:t>
        <a:bodyPr/>
        <a:lstStyle/>
        <a:p>
          <a:endParaRPr lang="es-CO"/>
        </a:p>
      </dgm:t>
    </dgm:pt>
    <dgm:pt modelId="{62D32E80-FEA0-48C5-B4F3-D3A7B382CF4D}">
      <dgm:prSet phldrT="[Texto]"/>
      <dgm:spPr/>
      <dgm:t>
        <a:bodyPr/>
        <a:lstStyle/>
        <a:p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5,1 Km</a:t>
          </a:r>
          <a:endParaRPr lang="es-CO" b="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gm:t>
    </dgm:pt>
    <dgm:pt modelId="{8AD0B8F5-BEA9-4429-9D88-BE5B410B4E8F}" type="parTrans" cxnId="{45613CD1-98CE-430E-8F9A-2CCB3FD631B6}">
      <dgm:prSet/>
      <dgm:spPr/>
      <dgm:t>
        <a:bodyPr/>
        <a:lstStyle/>
        <a:p>
          <a:endParaRPr lang="es-CO"/>
        </a:p>
      </dgm:t>
    </dgm:pt>
    <dgm:pt modelId="{43D9E2AD-7995-4697-8F50-6A23483CF554}" type="sibTrans" cxnId="{45613CD1-98CE-430E-8F9A-2CCB3FD631B6}">
      <dgm:prSet/>
      <dgm:spPr/>
      <dgm:t>
        <a:bodyPr/>
        <a:lstStyle/>
        <a:p>
          <a:endParaRPr lang="es-CO"/>
        </a:p>
      </dgm:t>
    </dgm:pt>
    <dgm:pt modelId="{8BA39C4A-810C-4796-B8B1-4A8CACD20CBC}">
      <dgm:prSet phldrT="[Texto]"/>
      <dgm:spPr/>
      <dgm:t>
        <a:bodyPr/>
        <a:lstStyle/>
        <a:p>
          <a:r>
            <a:rPr lang="es-CO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</a:t>
          </a:r>
          <a:r>
            <a:rPr lang="es-MX" b="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Terminar la Intersección a desnivel de El Maizal (en el acceso a Sincelejo). </a:t>
          </a:r>
          <a:endParaRPr lang="es-ES" b="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gm:t>
    </dgm:pt>
    <dgm:pt modelId="{F1FE0F2E-3871-4A29-B26E-FD568D86153B}" type="parTrans" cxnId="{407141A3-4745-4B5C-A0F7-B78C6F37F7C8}">
      <dgm:prSet/>
      <dgm:spPr/>
      <dgm:t>
        <a:bodyPr/>
        <a:lstStyle/>
        <a:p>
          <a:endParaRPr lang="es-ES"/>
        </a:p>
      </dgm:t>
    </dgm:pt>
    <dgm:pt modelId="{74D5557C-F1FE-4E5A-96BC-307DB7C4F64D}" type="sibTrans" cxnId="{407141A3-4745-4B5C-A0F7-B78C6F37F7C8}">
      <dgm:prSet/>
      <dgm:spPr/>
      <dgm:t>
        <a:bodyPr/>
        <a:lstStyle/>
        <a:p>
          <a:endParaRPr lang="es-ES"/>
        </a:p>
      </dgm:t>
    </dgm:pt>
    <dgm:pt modelId="{351DADD5-826D-416B-84E5-26678C386891}" type="pres">
      <dgm:prSet presAssocID="{CF84DDC2-96BF-432F-AA37-B7281110F630}" presName="Name0" presStyleCnt="0">
        <dgm:presLayoutVars>
          <dgm:dir/>
          <dgm:animLvl val="lvl"/>
          <dgm:resizeHandles val="exact"/>
        </dgm:presLayoutVars>
      </dgm:prSet>
      <dgm:spPr/>
    </dgm:pt>
    <dgm:pt modelId="{78A07495-0AF3-45E3-8386-C0DF5FF5E438}" type="pres">
      <dgm:prSet presAssocID="{3256AD19-79D9-4DD2-BD85-48D74080CB17}" presName="composite" presStyleCnt="0"/>
      <dgm:spPr/>
    </dgm:pt>
    <dgm:pt modelId="{FFC2669E-6EFE-4306-9BF4-0E6FE39D4B43}" type="pres">
      <dgm:prSet presAssocID="{3256AD19-79D9-4DD2-BD85-48D74080CB17}" presName="parTx" presStyleLbl="alignNode1" presStyleIdx="0" presStyleCnt="1" custLinFactNeighborX="661" custLinFactNeighborY="1727">
        <dgm:presLayoutVars>
          <dgm:chMax val="0"/>
          <dgm:chPref val="0"/>
          <dgm:bulletEnabled val="1"/>
        </dgm:presLayoutVars>
      </dgm:prSet>
      <dgm:spPr/>
    </dgm:pt>
    <dgm:pt modelId="{AB09D624-FF1B-4987-8110-30D214096F41}" type="pres">
      <dgm:prSet presAssocID="{3256AD19-79D9-4DD2-BD85-48D74080CB17}" presName="desTx" presStyleLbl="alignAccFollowNode1" presStyleIdx="0" presStyleCnt="1" custLinFactNeighborX="1558" custLinFactNeighborY="-5024">
        <dgm:presLayoutVars>
          <dgm:bulletEnabled val="1"/>
        </dgm:presLayoutVars>
      </dgm:prSet>
      <dgm:spPr/>
    </dgm:pt>
  </dgm:ptLst>
  <dgm:cxnLst>
    <dgm:cxn modelId="{3B3F76C0-EC15-48A5-9D97-16742E101100}" type="presOf" srcId="{CF84DDC2-96BF-432F-AA37-B7281110F630}" destId="{351DADD5-826D-416B-84E5-26678C386891}" srcOrd="0" destOrd="0" presId="urn:microsoft.com/office/officeart/2005/8/layout/hList1"/>
    <dgm:cxn modelId="{BC31899D-459E-464E-8FA5-EC9DE9D87435}" type="presOf" srcId="{3256AD19-79D9-4DD2-BD85-48D74080CB17}" destId="{FFC2669E-6EFE-4306-9BF4-0E6FE39D4B43}" srcOrd="0" destOrd="0" presId="urn:microsoft.com/office/officeart/2005/8/layout/hList1"/>
    <dgm:cxn modelId="{1DAB8F68-F240-4087-A489-79B13F2AAAE8}" type="presOf" srcId="{62D32E80-FEA0-48C5-B4F3-D3A7B382CF4D}" destId="{AB09D624-FF1B-4987-8110-30D214096F41}" srcOrd="0" destOrd="0" presId="urn:microsoft.com/office/officeart/2005/8/layout/hList1"/>
    <dgm:cxn modelId="{E34D4F69-34EE-4740-827F-8CA149BBB957}" type="presOf" srcId="{8BA39C4A-810C-4796-B8B1-4A8CACD20CBC}" destId="{AB09D624-FF1B-4987-8110-30D214096F41}" srcOrd="0" destOrd="1" presId="urn:microsoft.com/office/officeart/2005/8/layout/hList1"/>
    <dgm:cxn modelId="{45613CD1-98CE-430E-8F9A-2CCB3FD631B6}" srcId="{3256AD19-79D9-4DD2-BD85-48D74080CB17}" destId="{62D32E80-FEA0-48C5-B4F3-D3A7B382CF4D}" srcOrd="0" destOrd="0" parTransId="{8AD0B8F5-BEA9-4429-9D88-BE5B410B4E8F}" sibTransId="{43D9E2AD-7995-4697-8F50-6A23483CF554}"/>
    <dgm:cxn modelId="{E63772DA-91E4-47D3-BBD9-4D58BB219590}" srcId="{CF84DDC2-96BF-432F-AA37-B7281110F630}" destId="{3256AD19-79D9-4DD2-BD85-48D74080CB17}" srcOrd="0" destOrd="0" parTransId="{7DA4D0C4-FD1C-4D6C-8407-4B2B82955CE2}" sibTransId="{2AA69E1A-9C08-43D7-9BE4-98EA34CDC131}"/>
    <dgm:cxn modelId="{407141A3-4745-4B5C-A0F7-B78C6F37F7C8}" srcId="{3256AD19-79D9-4DD2-BD85-48D74080CB17}" destId="{8BA39C4A-810C-4796-B8B1-4A8CACD20CBC}" srcOrd="1" destOrd="0" parTransId="{F1FE0F2E-3871-4A29-B26E-FD568D86153B}" sibTransId="{74D5557C-F1FE-4E5A-96BC-307DB7C4F64D}"/>
    <dgm:cxn modelId="{0254493F-8681-4F5D-AB22-BE6A542B6265}" type="presParOf" srcId="{351DADD5-826D-416B-84E5-26678C386891}" destId="{78A07495-0AF3-45E3-8386-C0DF5FF5E438}" srcOrd="0" destOrd="0" presId="urn:microsoft.com/office/officeart/2005/8/layout/hList1"/>
    <dgm:cxn modelId="{1C03EFC3-3834-4EF2-B9A1-21A4B8E1688C}" type="presParOf" srcId="{78A07495-0AF3-45E3-8386-C0DF5FF5E438}" destId="{FFC2669E-6EFE-4306-9BF4-0E6FE39D4B43}" srcOrd="0" destOrd="0" presId="urn:microsoft.com/office/officeart/2005/8/layout/hList1"/>
    <dgm:cxn modelId="{E6049B73-1C2D-402D-8CA8-782182BBC954}" type="presParOf" srcId="{78A07495-0AF3-45E3-8386-C0DF5FF5E438}" destId="{AB09D624-FF1B-4987-8110-30D214096F4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46143"/>
          <a:ext cx="2880320" cy="748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05664" rIns="184912" bIns="105664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600" kern="1200" dirty="0"/>
            <a:t>Metas</a:t>
          </a:r>
        </a:p>
      </dsp:txBody>
      <dsp:txXfrm>
        <a:off x="0" y="46143"/>
        <a:ext cx="2880320" cy="748800"/>
      </dsp:txXfrm>
    </dsp:sp>
    <dsp:sp modelId="{AB09D624-FF1B-4987-8110-30D214096F41}">
      <dsp:nvSpPr>
        <dsp:cNvPr id="0" name=""/>
        <dsp:cNvSpPr/>
      </dsp:nvSpPr>
      <dsp:spPr>
        <a:xfrm>
          <a:off x="0" y="754181"/>
          <a:ext cx="2880320" cy="114192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8684" tIns="138684" rIns="184912" bIns="208026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600" kern="1200" dirty="0"/>
            <a:t>11,68 Km de Segunda Calzada </a:t>
          </a:r>
        </a:p>
      </dsp:txBody>
      <dsp:txXfrm>
        <a:off x="0" y="754181"/>
        <a:ext cx="2880320" cy="114192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26354"/>
          <a:ext cx="2880320" cy="5760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Avances</a:t>
          </a:r>
        </a:p>
      </dsp:txBody>
      <dsp:txXfrm>
        <a:off x="0" y="226354"/>
        <a:ext cx="2880320" cy="576000"/>
      </dsp:txXfrm>
    </dsp:sp>
    <dsp:sp modelId="{AB09D624-FF1B-4987-8110-30D214096F41}">
      <dsp:nvSpPr>
        <dsp:cNvPr id="0" name=""/>
        <dsp:cNvSpPr/>
      </dsp:nvSpPr>
      <dsp:spPr>
        <a:xfrm>
          <a:off x="0" y="767015"/>
          <a:ext cx="2880320" cy="145484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0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11,2 Km</a:t>
          </a:r>
          <a:endParaRPr lang="es-CO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20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Intersección a desnivel de El Maizal: 100%.</a:t>
          </a:r>
          <a:endParaRPr lang="es-ES" sz="2000" kern="1200" dirty="0"/>
        </a:p>
      </dsp:txBody>
      <dsp:txXfrm>
        <a:off x="0" y="767015"/>
        <a:ext cx="2880320" cy="145484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DFAA5F-2980-40B0-9A86-75231EDEE37A}">
      <dsp:nvSpPr>
        <dsp:cNvPr id="0" name=""/>
        <dsp:cNvSpPr/>
      </dsp:nvSpPr>
      <dsp:spPr>
        <a:xfrm>
          <a:off x="94887" y="216567"/>
          <a:ext cx="2229318" cy="75584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i="0" kern="1200" dirty="0">
              <a:solidFill>
                <a:schemeClr val="tx1"/>
              </a:solidFill>
            </a:rPr>
            <a:t>Construcción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i="0" kern="1200" dirty="0">
              <a:solidFill>
                <a:schemeClr val="tx1"/>
              </a:solidFill>
            </a:rPr>
            <a:t>Doble Calzada</a:t>
          </a:r>
        </a:p>
      </dsp:txBody>
      <dsp:txXfrm>
        <a:off x="94887" y="216567"/>
        <a:ext cx="2229318" cy="755848"/>
      </dsp:txXfrm>
    </dsp:sp>
    <dsp:sp modelId="{D8887FB0-731D-4CED-B04F-689C2FD521F5}">
      <dsp:nvSpPr>
        <dsp:cNvPr id="0" name=""/>
        <dsp:cNvSpPr/>
      </dsp:nvSpPr>
      <dsp:spPr>
        <a:xfrm>
          <a:off x="93621" y="1468630"/>
          <a:ext cx="2052789" cy="199874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Meta: 12 km 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Logro: 9,7 km</a:t>
          </a:r>
        </a:p>
      </dsp:txBody>
      <dsp:txXfrm>
        <a:off x="93621" y="1468630"/>
        <a:ext cx="2052789" cy="1998748"/>
      </dsp:txXfrm>
    </dsp:sp>
    <dsp:sp modelId="{7FC7DB7A-5204-40E5-B763-9D0CC90EF1BD}">
      <dsp:nvSpPr>
        <dsp:cNvPr id="0" name=""/>
        <dsp:cNvSpPr/>
      </dsp:nvSpPr>
      <dsp:spPr>
        <a:xfrm>
          <a:off x="2525639" y="220925"/>
          <a:ext cx="1889621" cy="75584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kern="1200" dirty="0">
              <a:solidFill>
                <a:schemeClr val="tx1"/>
              </a:solidFill>
            </a:rPr>
            <a:t>Construcció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kern="1200" dirty="0">
              <a:solidFill>
                <a:schemeClr val="tx1"/>
              </a:solidFill>
            </a:rPr>
            <a:t>Calzada Sencilla</a:t>
          </a:r>
        </a:p>
      </dsp:txBody>
      <dsp:txXfrm>
        <a:off x="2525639" y="220925"/>
        <a:ext cx="1889621" cy="755848"/>
      </dsp:txXfrm>
    </dsp:sp>
    <dsp:sp modelId="{90F38049-0CF6-4FFA-8430-027A3E2E5B35}">
      <dsp:nvSpPr>
        <dsp:cNvPr id="0" name=""/>
        <dsp:cNvSpPr/>
      </dsp:nvSpPr>
      <dsp:spPr>
        <a:xfrm>
          <a:off x="2477038" y="1469347"/>
          <a:ext cx="1947103" cy="180432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Meta: 25,54km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Logro: 20 Km</a:t>
          </a:r>
        </a:p>
      </dsp:txBody>
      <dsp:txXfrm>
        <a:off x="2477038" y="1469347"/>
        <a:ext cx="1947103" cy="1804325"/>
      </dsp:txXfrm>
    </dsp:sp>
    <dsp:sp modelId="{CD6DF7E2-8EA4-4BC0-8CC6-BA8B3D36FAD9}">
      <dsp:nvSpPr>
        <dsp:cNvPr id="0" name=""/>
        <dsp:cNvSpPr/>
      </dsp:nvSpPr>
      <dsp:spPr>
        <a:xfrm>
          <a:off x="4651652" y="251757"/>
          <a:ext cx="1889621" cy="75584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600" kern="1200" dirty="0">
              <a:solidFill>
                <a:schemeClr val="tx1"/>
              </a:solidFill>
            </a:rPr>
            <a:t>Mejoramiento y Rehabilitación</a:t>
          </a:r>
        </a:p>
      </dsp:txBody>
      <dsp:txXfrm>
        <a:off x="4651652" y="251757"/>
        <a:ext cx="1889621" cy="755848"/>
      </dsp:txXfrm>
    </dsp:sp>
    <dsp:sp modelId="{7D928F2E-61E8-4BC1-A84B-DA68D2953663}">
      <dsp:nvSpPr>
        <dsp:cNvPr id="0" name=""/>
        <dsp:cNvSpPr/>
      </dsp:nvSpPr>
      <dsp:spPr>
        <a:xfrm>
          <a:off x="4714378" y="1520703"/>
          <a:ext cx="1889621" cy="232344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Meta: 35,34 Km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>
              <a:solidFill>
                <a:schemeClr val="accent2">
                  <a:lumMod val="75000"/>
                </a:schemeClr>
              </a:solidFill>
            </a:rPr>
            <a:t>Logro: 21,3 Km</a:t>
          </a:r>
        </a:p>
      </dsp:txBody>
      <dsp:txXfrm>
        <a:off x="4714378" y="1520703"/>
        <a:ext cx="1889621" cy="232344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6337935" cy="403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400" kern="1200" dirty="0"/>
            <a:t>Metas</a:t>
          </a:r>
        </a:p>
      </dsp:txBody>
      <dsp:txXfrm>
        <a:off x="0" y="0"/>
        <a:ext cx="6337935" cy="403200"/>
      </dsp:txXfrm>
    </dsp:sp>
    <dsp:sp modelId="{AB09D624-FF1B-4987-8110-30D214096F41}">
      <dsp:nvSpPr>
        <dsp:cNvPr id="0" name=""/>
        <dsp:cNvSpPr/>
      </dsp:nvSpPr>
      <dsp:spPr>
        <a:xfrm>
          <a:off x="0" y="415770"/>
          <a:ext cx="6337935" cy="849683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400" kern="1200" dirty="0"/>
            <a:t>Inicio construcción Puente peatonal “Bosques de la Acuarela” PR 4+350 de la Avenida del Ferrocarril  en el Municipio de Dosquebradas.</a:t>
          </a:r>
        </a:p>
      </dsp:txBody>
      <dsp:txXfrm>
        <a:off x="0" y="415770"/>
        <a:ext cx="6337935" cy="84968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6125560" cy="374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52832" rIns="92456" bIns="52832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300" kern="1200" dirty="0"/>
            <a:t>Avances</a:t>
          </a:r>
        </a:p>
      </dsp:txBody>
      <dsp:txXfrm>
        <a:off x="0" y="0"/>
        <a:ext cx="6125560" cy="374400"/>
      </dsp:txXfrm>
    </dsp:sp>
    <dsp:sp modelId="{AB09D624-FF1B-4987-8110-30D214096F41}">
      <dsp:nvSpPr>
        <dsp:cNvPr id="0" name=""/>
        <dsp:cNvSpPr/>
      </dsp:nvSpPr>
      <dsp:spPr>
        <a:xfrm>
          <a:off x="0" y="387176"/>
          <a:ext cx="6125560" cy="78506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342" tIns="69342" rIns="92456" bIns="104013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1300" kern="1200" dirty="0"/>
            <a:t> Terminada  e inaugurada  las  obras de Rehabilitación de La Española-Calarcá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300" kern="1200" dirty="0"/>
            <a:t>Terminados los estudios y diseños del puente peatonal </a:t>
          </a:r>
          <a:r>
            <a:rPr lang="es-ES" sz="1300" kern="1200" dirty="0"/>
            <a:t>“Bosques de la Acuarela” .</a:t>
          </a:r>
          <a:endParaRPr lang="es-C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1300" kern="1200" dirty="0"/>
        </a:p>
      </dsp:txBody>
      <dsp:txXfrm>
        <a:off x="0" y="387176"/>
        <a:ext cx="6125560" cy="785069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7708"/>
          <a:ext cx="3407497" cy="604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100" kern="1200" dirty="0"/>
            <a:t>Metas</a:t>
          </a:r>
        </a:p>
      </dsp:txBody>
      <dsp:txXfrm>
        <a:off x="0" y="27708"/>
        <a:ext cx="3407497" cy="604800"/>
      </dsp:txXfrm>
    </dsp:sp>
    <dsp:sp modelId="{AB09D624-FF1B-4987-8110-30D214096F41}">
      <dsp:nvSpPr>
        <dsp:cNvPr id="0" name=""/>
        <dsp:cNvSpPr/>
      </dsp:nvSpPr>
      <dsp:spPr>
        <a:xfrm>
          <a:off x="0" y="567852"/>
          <a:ext cx="3407497" cy="152759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Ampliación del Antiguo Viaducto La Caro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Construcción Puente Peatonal Refisal</a:t>
          </a:r>
        </a:p>
      </dsp:txBody>
      <dsp:txXfrm>
        <a:off x="0" y="567852"/>
        <a:ext cx="3407497" cy="152759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2880320" cy="570691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77216" rIns="135128" bIns="77216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900" kern="1200" dirty="0"/>
            <a:t>Avances</a:t>
          </a:r>
        </a:p>
      </dsp:txBody>
      <dsp:txXfrm>
        <a:off x="0" y="0"/>
        <a:ext cx="2880320" cy="570691"/>
      </dsp:txXfrm>
    </dsp:sp>
    <dsp:sp modelId="{AB09D624-FF1B-4987-8110-30D214096F41}">
      <dsp:nvSpPr>
        <dsp:cNvPr id="0" name=""/>
        <dsp:cNvSpPr/>
      </dsp:nvSpPr>
      <dsp:spPr>
        <a:xfrm>
          <a:off x="0" y="475918"/>
          <a:ext cx="2880320" cy="133807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900" kern="1200" dirty="0"/>
            <a:t>Ampliación Viaducto La Caro: 79,56%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900" kern="1200" dirty="0"/>
            <a:t>Construcción Puente peatonal Refisal: 31,70%</a:t>
          </a:r>
        </a:p>
      </dsp:txBody>
      <dsp:txXfrm>
        <a:off x="0" y="475918"/>
        <a:ext cx="2880320" cy="1338079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34224"/>
          <a:ext cx="2880320" cy="288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000" kern="1200" dirty="0"/>
            <a:t>Metas</a:t>
          </a:r>
        </a:p>
      </dsp:txBody>
      <dsp:txXfrm>
        <a:off x="0" y="34224"/>
        <a:ext cx="2880320" cy="288000"/>
      </dsp:txXfrm>
    </dsp:sp>
    <dsp:sp modelId="{AB09D624-FF1B-4987-8110-30D214096F41}">
      <dsp:nvSpPr>
        <dsp:cNvPr id="0" name=""/>
        <dsp:cNvSpPr/>
      </dsp:nvSpPr>
      <dsp:spPr>
        <a:xfrm>
          <a:off x="0" y="245866"/>
          <a:ext cx="2880320" cy="164699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000" kern="1200" dirty="0"/>
            <a:t>Adelantar tramite de reversión del proyecto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000" kern="1200" dirty="0"/>
            <a:t>Adelantar tramite de identificación y evaluación de Puntos críticos No contractuales para atención por fondo de contingencias para mejorar las condiciones de seguridad y estado de la vía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000" kern="1200" dirty="0"/>
            <a:t>Adelantar tramite de consecución de recursos para interventoría en etapa de liquidación del contrato 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000" kern="1200" dirty="0"/>
            <a:t>Operar y mantener el Corredor (370 km)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000" kern="1200" dirty="0"/>
            <a:t>Mejorar las condiciones de operación de la variante de Zipaquirá </a:t>
          </a:r>
        </a:p>
      </dsp:txBody>
      <dsp:txXfrm>
        <a:off x="0" y="245866"/>
        <a:ext cx="2880320" cy="1646999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18482"/>
          <a:ext cx="3904878" cy="230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32512" rIns="56896" bIns="32512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800" kern="1200" dirty="0"/>
            <a:t>Avances</a:t>
          </a:r>
        </a:p>
      </dsp:txBody>
      <dsp:txXfrm>
        <a:off x="0" y="118482"/>
        <a:ext cx="3904878" cy="230400"/>
      </dsp:txXfrm>
    </dsp:sp>
    <dsp:sp modelId="{AB09D624-FF1B-4987-8110-30D214096F41}">
      <dsp:nvSpPr>
        <dsp:cNvPr id="0" name=""/>
        <dsp:cNvSpPr/>
      </dsp:nvSpPr>
      <dsp:spPr>
        <a:xfrm>
          <a:off x="0" y="284258"/>
          <a:ext cx="3904878" cy="254736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672" tIns="42672" rIns="56896" bIns="64008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800" kern="1200" dirty="0"/>
            <a:t>En junio de 2016 se solicitó a concesionario e interventoría iniciar el tramite de diligenciamiento de formatos de reversión en cada área ( documental, financiera, social, predial, ambiental, e inventarios de obras y estaciones de peaje y pesaje, se lleva un avance del 30% a agosto de 2016 )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800" kern="1200" dirty="0"/>
            <a:t>Mediante Acta de entendimiento el 27 de mayo de 2016 la ANI ordeno al Concesionario iniciar los estudios y diseños para la atención de los Puntos Críticos No contractuales por un plazo de 3 meses ( con corte a agosto se tiene que el concesionario presento los diseños el 26 de agosto los cuales están siendo revisados por interventoría 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800" kern="1200" dirty="0"/>
            <a:t> Se trabajó con equipo de trabajo en la elaboración de insumos y justificación de otrosí para ampliación del alcance de la subcuenta de excedentes para disposición de otras obligaciones del proyecto incluidas el pago de supervisión e interventoría ( elaboración de bitácora ENC y demás soportes)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800" kern="1200" dirty="0"/>
            <a:t>Se realizaron los trabajos de operación y mantenimiento del corredor ( mejoras en señalización, demarcación operación de peajes , atención de emergencias y demás en los 370km).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800" kern="1200" dirty="0"/>
            <a:t>A lo largo del mes de Abril y Mayo de 2016 el Concesionario una vez llevadas acabo reuniones y mesas de trabajo con las autoridades locales, autoridades de transito , Ministerio de Transporte realizaron los ajustes en la señalización  ( cambio de señales y cambio de demarcación indicando a los usuarios el sentido de la variante Bogotá- Ubate ( previa aprobación de la secretaría de transito del municipio de Zipaquirá, la cual se mantendrá hasta que entre en vigencia el nuevo proyecto de concesión en este sector. </a:t>
          </a:r>
        </a:p>
      </dsp:txBody>
      <dsp:txXfrm>
        <a:off x="0" y="284258"/>
        <a:ext cx="3904878" cy="25473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25743"/>
          <a:ext cx="3078812" cy="6912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Avances</a:t>
          </a:r>
        </a:p>
      </dsp:txBody>
      <dsp:txXfrm>
        <a:off x="0" y="25743"/>
        <a:ext cx="3078812" cy="691200"/>
      </dsp:txXfrm>
    </dsp:sp>
    <dsp:sp modelId="{AB09D624-FF1B-4987-8110-30D214096F41}">
      <dsp:nvSpPr>
        <dsp:cNvPr id="0" name=""/>
        <dsp:cNvSpPr/>
      </dsp:nvSpPr>
      <dsp:spPr>
        <a:xfrm>
          <a:off x="0" y="737106"/>
          <a:ext cx="3078812" cy="105408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400" kern="1200" dirty="0"/>
            <a:t>5,40 Km de Segunda </a:t>
          </a:r>
          <a:br>
            <a:rPr lang="es-CO" sz="2400" kern="1200" dirty="0"/>
          </a:br>
          <a:r>
            <a:rPr lang="es-CO" sz="2400" kern="1200" dirty="0"/>
            <a:t>Calzada</a:t>
          </a:r>
        </a:p>
      </dsp:txBody>
      <dsp:txXfrm>
        <a:off x="0" y="737106"/>
        <a:ext cx="3078812" cy="10540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670785" cy="662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300" kern="1200" dirty="0"/>
            <a:t>Metas </a:t>
          </a:r>
        </a:p>
      </dsp:txBody>
      <dsp:txXfrm>
        <a:off x="0" y="0"/>
        <a:ext cx="3670785" cy="662400"/>
      </dsp:txXfrm>
    </dsp:sp>
    <dsp:sp modelId="{AB09D624-FF1B-4987-8110-30D214096F41}">
      <dsp:nvSpPr>
        <dsp:cNvPr id="0" name=""/>
        <dsp:cNvSpPr/>
      </dsp:nvSpPr>
      <dsp:spPr>
        <a:xfrm>
          <a:off x="0" y="609784"/>
          <a:ext cx="3670785" cy="132583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300" kern="1200" dirty="0"/>
            <a:t>Construcción segunda calzada: 50,381 km 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300" kern="1200" dirty="0"/>
            <a:t>Mejoramiento: 18,072 km</a:t>
          </a:r>
        </a:p>
      </dsp:txBody>
      <dsp:txXfrm>
        <a:off x="0" y="609784"/>
        <a:ext cx="3670785" cy="132583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0"/>
          <a:ext cx="3438169" cy="6912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101600" rIns="177800" bIns="10160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kern="1200" dirty="0"/>
            <a:t>Avances</a:t>
          </a:r>
          <a:endParaRPr lang="es-CO" sz="1000" kern="1200" dirty="0"/>
        </a:p>
      </dsp:txBody>
      <dsp:txXfrm>
        <a:off x="0" y="0"/>
        <a:ext cx="3438169" cy="691200"/>
      </dsp:txXfrm>
    </dsp:sp>
    <dsp:sp modelId="{AB09D624-FF1B-4987-8110-30D214096F41}">
      <dsp:nvSpPr>
        <dsp:cNvPr id="0" name=""/>
        <dsp:cNvSpPr/>
      </dsp:nvSpPr>
      <dsp:spPr>
        <a:xfrm>
          <a:off x="0" y="603719"/>
          <a:ext cx="3438169" cy="1218779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Construcción segunda calzada: 13,72 km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Mejoramiento: 15,62 km</a:t>
          </a:r>
        </a:p>
      </dsp:txBody>
      <dsp:txXfrm>
        <a:off x="0" y="603719"/>
        <a:ext cx="3438169" cy="121877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33764"/>
          <a:ext cx="2880320" cy="7200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Metas</a:t>
          </a:r>
        </a:p>
      </dsp:txBody>
      <dsp:txXfrm>
        <a:off x="0" y="33764"/>
        <a:ext cx="2880320" cy="720000"/>
      </dsp:txXfrm>
    </dsp:sp>
    <dsp:sp modelId="{AB09D624-FF1B-4987-8110-30D214096F41}">
      <dsp:nvSpPr>
        <dsp:cNvPr id="0" name=""/>
        <dsp:cNvSpPr/>
      </dsp:nvSpPr>
      <dsp:spPr>
        <a:xfrm>
          <a:off x="0" y="805543"/>
          <a:ext cx="2880320" cy="1406812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350" tIns="133350" rIns="177800" bIns="200025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500" kern="1200" dirty="0"/>
            <a:t>Construcción Segunda Calzada: 13,85 km</a:t>
          </a:r>
        </a:p>
      </dsp:txBody>
      <dsp:txXfrm>
        <a:off x="0" y="805543"/>
        <a:ext cx="2880320" cy="140681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27541"/>
          <a:ext cx="2880320" cy="6624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Avances</a:t>
          </a:r>
        </a:p>
      </dsp:txBody>
      <dsp:txXfrm>
        <a:off x="0" y="127541"/>
        <a:ext cx="2880320" cy="662400"/>
      </dsp:txXfrm>
    </dsp:sp>
    <dsp:sp modelId="{AB09D624-FF1B-4987-8110-30D214096F41}">
      <dsp:nvSpPr>
        <dsp:cNvPr id="0" name=""/>
        <dsp:cNvSpPr/>
      </dsp:nvSpPr>
      <dsp:spPr>
        <a:xfrm>
          <a:off x="0" y="721956"/>
          <a:ext cx="2880320" cy="129426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2682" tIns="122682" rIns="163576" bIns="184023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300" kern="1200" dirty="0"/>
            <a:t>Construcción Segunda Calzada: 0 km</a:t>
          </a:r>
        </a:p>
      </dsp:txBody>
      <dsp:txXfrm>
        <a:off x="0" y="721956"/>
        <a:ext cx="2880320" cy="129426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26221"/>
          <a:ext cx="2880320" cy="6048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Metas</a:t>
          </a:r>
        </a:p>
      </dsp:txBody>
      <dsp:txXfrm>
        <a:off x="0" y="126221"/>
        <a:ext cx="2880320" cy="604800"/>
      </dsp:txXfrm>
    </dsp:sp>
    <dsp:sp modelId="{AB09D624-FF1B-4987-8110-30D214096F41}">
      <dsp:nvSpPr>
        <dsp:cNvPr id="0" name=""/>
        <dsp:cNvSpPr/>
      </dsp:nvSpPr>
      <dsp:spPr>
        <a:xfrm>
          <a:off x="0" y="623439"/>
          <a:ext cx="2880320" cy="181581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Construcción Segunda Calzada: 15,11 km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2100" kern="1200" dirty="0"/>
            <a:t>Construcción Doble Calzada: </a:t>
          </a:r>
          <a:r>
            <a:rPr lang="es-ES" sz="2100" kern="1200" dirty="0"/>
            <a:t>7,05 Km</a:t>
          </a:r>
        </a:p>
      </dsp:txBody>
      <dsp:txXfrm>
        <a:off x="0" y="623439"/>
        <a:ext cx="2880320" cy="181581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74864"/>
          <a:ext cx="2880320" cy="604800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Avances</a:t>
          </a:r>
        </a:p>
      </dsp:txBody>
      <dsp:txXfrm>
        <a:off x="0" y="74864"/>
        <a:ext cx="2880320" cy="604800"/>
      </dsp:txXfrm>
    </dsp:sp>
    <dsp:sp modelId="{AB09D624-FF1B-4987-8110-30D214096F41}">
      <dsp:nvSpPr>
        <dsp:cNvPr id="0" name=""/>
        <dsp:cNvSpPr/>
      </dsp:nvSpPr>
      <dsp:spPr>
        <a:xfrm>
          <a:off x="0" y="595582"/>
          <a:ext cx="2880320" cy="181581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2100" b="0" kern="120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</a:t>
          </a:r>
          <a:r>
            <a:rPr lang="pt-BR" sz="21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Segunda </a:t>
          </a:r>
          <a:r>
            <a:rPr lang="pt-BR" sz="2100" b="0" kern="1200" dirty="0" err="1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alzada</a:t>
          </a:r>
          <a:r>
            <a:rPr lang="pt-BR" sz="2100" b="0" kern="120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: 8,06 km</a:t>
          </a:r>
          <a:endParaRPr lang="es-CO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ES" sz="2100" kern="1200" dirty="0"/>
            <a:t>Construcción Doble Calzada: 7,05 Km</a:t>
          </a:r>
        </a:p>
      </dsp:txBody>
      <dsp:txXfrm>
        <a:off x="0" y="595582"/>
        <a:ext cx="2880320" cy="181581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2669E-6EFE-4306-9BF4-0E6FE39D4B43}">
      <dsp:nvSpPr>
        <dsp:cNvPr id="0" name=""/>
        <dsp:cNvSpPr/>
      </dsp:nvSpPr>
      <dsp:spPr>
        <a:xfrm>
          <a:off x="0" y="181613"/>
          <a:ext cx="2880320" cy="5382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kern="1200" dirty="0"/>
            <a:t>Metas</a:t>
          </a:r>
        </a:p>
      </dsp:txBody>
      <dsp:txXfrm>
        <a:off x="0" y="181613"/>
        <a:ext cx="2880320" cy="538203"/>
      </dsp:txXfrm>
    </dsp:sp>
    <dsp:sp modelId="{AB09D624-FF1B-4987-8110-30D214096F41}">
      <dsp:nvSpPr>
        <dsp:cNvPr id="0" name=""/>
        <dsp:cNvSpPr/>
      </dsp:nvSpPr>
      <dsp:spPr>
        <a:xfrm>
          <a:off x="0" y="632328"/>
          <a:ext cx="2880320" cy="15564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Construcción Segunda Calzada: 25,1 Km</a:t>
          </a:r>
          <a:endParaRPr lang="es-CO" sz="1800" b="0" kern="120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 </a:t>
          </a:r>
          <a:r>
            <a:rPr lang="es-MX" sz="1800" b="0" kern="1200" baseline="0" dirty="0">
              <a:solidFill>
                <a:schemeClr val="dk1"/>
              </a:solidFill>
              <a:effectLst/>
              <a:latin typeface="+mn-lt"/>
              <a:ea typeface="+mn-ea"/>
              <a:cs typeface="+mn-cs"/>
            </a:rPr>
            <a:t>Terminar la Intersección a desnivel de El Maizal (en el acceso a Sincelejo). </a:t>
          </a:r>
          <a:endParaRPr lang="es-ES" sz="1800" b="0" kern="1200" baseline="0" dirty="0">
            <a:solidFill>
              <a:schemeClr val="dk1"/>
            </a:solidFill>
            <a:effectLst/>
            <a:latin typeface="+mn-lt"/>
            <a:ea typeface="+mn-ea"/>
            <a:cs typeface="+mn-cs"/>
          </a:endParaRPr>
        </a:p>
      </dsp:txBody>
      <dsp:txXfrm>
        <a:off x="0" y="632328"/>
        <a:ext cx="2880320" cy="15564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9/2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4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4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4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0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2081189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1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1658096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2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798546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4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32730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5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086380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6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021821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7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8600077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8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317106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D52C1F3E-BB29-49E7-9332-E23C0ECD21B4}" type="slidenum">
              <a:rPr lang="en-US" sz="1200" smtClean="0">
                <a:latin typeface="Candara"/>
              </a:rPr>
              <a:pPr eaLnBrk="1" hangingPunct="1"/>
              <a:t>9</a:t>
            </a:fld>
            <a:endParaRPr lang="en-US" sz="1200">
              <a:latin typeface="Candara"/>
            </a:endParaRPr>
          </a:p>
        </p:txBody>
      </p:sp>
      <p:sp>
        <p:nvSpPr>
          <p:cNvPr id="6553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2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61287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13" Type="http://schemas.openxmlformats.org/officeDocument/2006/relationships/diagramData" Target="../diagrams/data13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2.xml"/><Relationship Id="rId17" Type="http://schemas.microsoft.com/office/2007/relationships/diagramDrawing" Target="../diagrams/drawing13.xml"/><Relationship Id="rId2" Type="http://schemas.openxmlformats.org/officeDocument/2006/relationships/tags" Target="../tags/tag80.xml"/><Relationship Id="rId16" Type="http://schemas.openxmlformats.org/officeDocument/2006/relationships/diagramColors" Target="../diagrams/colors1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2.xml"/><Relationship Id="rId5" Type="http://schemas.openxmlformats.org/officeDocument/2006/relationships/oleObject" Target="../embeddings/oleObject19.bin"/><Relationship Id="rId15" Type="http://schemas.openxmlformats.org/officeDocument/2006/relationships/diagramQuickStyle" Target="../diagrams/quickStyle13.xml"/><Relationship Id="rId10" Type="http://schemas.openxmlformats.org/officeDocument/2006/relationships/diagramQuickStyle" Target="../diagrams/quickStyle12.xml"/><Relationship Id="rId4" Type="http://schemas.openxmlformats.org/officeDocument/2006/relationships/notesSlide" Target="../notesSlides/notesSlide10.xml"/><Relationship Id="rId9" Type="http://schemas.openxmlformats.org/officeDocument/2006/relationships/diagramLayout" Target="../diagrams/layout12.xml"/><Relationship Id="rId14" Type="http://schemas.openxmlformats.org/officeDocument/2006/relationships/diagramLayout" Target="../diagrams/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/><Relationship Id="rId13" Type="http://schemas.openxmlformats.org/officeDocument/2006/relationships/diagramData" Target="../diagrams/data15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4.xml"/><Relationship Id="rId17" Type="http://schemas.microsoft.com/office/2007/relationships/diagramDrawing" Target="../diagrams/drawing15.xml"/><Relationship Id="rId2" Type="http://schemas.openxmlformats.org/officeDocument/2006/relationships/tags" Target="../tags/tag83.xml"/><Relationship Id="rId16" Type="http://schemas.openxmlformats.org/officeDocument/2006/relationships/diagramColors" Target="../diagrams/colors1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4.xml"/><Relationship Id="rId5" Type="http://schemas.openxmlformats.org/officeDocument/2006/relationships/oleObject" Target="../embeddings/oleObject20.bin"/><Relationship Id="rId15" Type="http://schemas.openxmlformats.org/officeDocument/2006/relationships/diagramQuickStyle" Target="../diagrams/quickStyle15.xml"/><Relationship Id="rId10" Type="http://schemas.openxmlformats.org/officeDocument/2006/relationships/diagramQuickStyle" Target="../diagrams/quickStyle14.xml"/><Relationship Id="rId4" Type="http://schemas.openxmlformats.org/officeDocument/2006/relationships/notesSlide" Target="../notesSlides/notesSlide11.xml"/><Relationship Id="rId9" Type="http://schemas.openxmlformats.org/officeDocument/2006/relationships/diagramLayout" Target="../diagrams/layout14.xml"/><Relationship Id="rId14" Type="http://schemas.openxmlformats.org/officeDocument/2006/relationships/diagramLayout" Target="../diagrams/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6.xml"/><Relationship Id="rId13" Type="http://schemas.openxmlformats.org/officeDocument/2006/relationships/diagramData" Target="../diagrams/data17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6.xml"/><Relationship Id="rId17" Type="http://schemas.microsoft.com/office/2007/relationships/diagramDrawing" Target="../diagrams/drawing17.xml"/><Relationship Id="rId2" Type="http://schemas.openxmlformats.org/officeDocument/2006/relationships/tags" Target="../tags/tag86.xml"/><Relationship Id="rId16" Type="http://schemas.openxmlformats.org/officeDocument/2006/relationships/diagramColors" Target="../diagrams/colors1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6.xml"/><Relationship Id="rId5" Type="http://schemas.openxmlformats.org/officeDocument/2006/relationships/oleObject" Target="../embeddings/oleObject21.bin"/><Relationship Id="rId15" Type="http://schemas.openxmlformats.org/officeDocument/2006/relationships/diagramQuickStyle" Target="../diagrams/quickStyle17.xml"/><Relationship Id="rId10" Type="http://schemas.openxmlformats.org/officeDocument/2006/relationships/diagramQuickStyle" Target="../diagrams/quickStyle16.xml"/><Relationship Id="rId4" Type="http://schemas.openxmlformats.org/officeDocument/2006/relationships/notesSlide" Target="../notesSlides/notesSlide12.xml"/><Relationship Id="rId9" Type="http://schemas.openxmlformats.org/officeDocument/2006/relationships/diagramLayout" Target="../diagrams/layout16.xml"/><Relationship Id="rId14" Type="http://schemas.openxmlformats.org/officeDocument/2006/relationships/diagramLayout" Target="../diagrams/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diagramData" Target="../diagrams/data2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1.xml"/><Relationship Id="rId17" Type="http://schemas.microsoft.com/office/2007/relationships/diagramDrawing" Target="../diagrams/drawing2.xml"/><Relationship Id="rId2" Type="http://schemas.openxmlformats.org/officeDocument/2006/relationships/tags" Target="../tags/tag62.xml"/><Relationship Id="rId16" Type="http://schemas.openxmlformats.org/officeDocument/2006/relationships/diagramColors" Target="../diagrams/colors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13.bin"/><Relationship Id="rId1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4.xml"/><Relationship Id="rId9" Type="http://schemas.openxmlformats.org/officeDocument/2006/relationships/diagramLayout" Target="../diagrams/layout1.xml"/><Relationship Id="rId1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tags" Target="../tags/tag65.xml"/><Relationship Id="rId16" Type="http://schemas.openxmlformats.org/officeDocument/2006/relationships/diagramColors" Target="../diagrams/colors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14.bin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5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tags" Target="../tags/tag68.xml"/><Relationship Id="rId16" Type="http://schemas.openxmlformats.org/officeDocument/2006/relationships/diagramColors" Target="../diagrams/colors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5.xml"/><Relationship Id="rId5" Type="http://schemas.openxmlformats.org/officeDocument/2006/relationships/oleObject" Target="../embeddings/oleObject15.bin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notesSlide" Target="../notesSlides/notesSlide6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13" Type="http://schemas.openxmlformats.org/officeDocument/2006/relationships/diagramData" Target="../diagrams/data8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" Type="http://schemas.openxmlformats.org/officeDocument/2006/relationships/tags" Target="../tags/tag71.xml"/><Relationship Id="rId16" Type="http://schemas.openxmlformats.org/officeDocument/2006/relationships/diagramColors" Target="../diagrams/colors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7.xml"/><Relationship Id="rId5" Type="http://schemas.openxmlformats.org/officeDocument/2006/relationships/oleObject" Target="../embeddings/oleObject16.bin"/><Relationship Id="rId15" Type="http://schemas.openxmlformats.org/officeDocument/2006/relationships/diagramQuickStyle" Target="../diagrams/quickStyle8.xml"/><Relationship Id="rId10" Type="http://schemas.openxmlformats.org/officeDocument/2006/relationships/diagramQuickStyle" Target="../diagrams/quickStyle7.xml"/><Relationship Id="rId4" Type="http://schemas.openxmlformats.org/officeDocument/2006/relationships/notesSlide" Target="../notesSlides/notesSlide7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diagramData" Target="../diagrams/data10.xm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12" Type="http://schemas.microsoft.com/office/2007/relationships/diagramDrawing" Target="../diagrams/drawing9.xml"/><Relationship Id="rId17" Type="http://schemas.microsoft.com/office/2007/relationships/diagramDrawing" Target="../diagrams/drawing10.xml"/><Relationship Id="rId2" Type="http://schemas.openxmlformats.org/officeDocument/2006/relationships/tags" Target="../tags/tag74.xml"/><Relationship Id="rId16" Type="http://schemas.openxmlformats.org/officeDocument/2006/relationships/diagramColors" Target="../diagrams/colors1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9.xml"/><Relationship Id="rId5" Type="http://schemas.openxmlformats.org/officeDocument/2006/relationships/oleObject" Target="../embeddings/oleObject17.bin"/><Relationship Id="rId1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9.xml"/><Relationship Id="rId4" Type="http://schemas.openxmlformats.org/officeDocument/2006/relationships/notesSlide" Target="../notesSlides/notesSlide8.xml"/><Relationship Id="rId9" Type="http://schemas.openxmlformats.org/officeDocument/2006/relationships/diagramLayout" Target="../diagrams/layout9.xml"/><Relationship Id="rId14" Type="http://schemas.openxmlformats.org/officeDocument/2006/relationships/diagramLayout" Target="../diagrams/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diagramColors" Target="../diagrams/colors11.xml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12" Type="http://schemas.openxmlformats.org/officeDocument/2006/relationships/diagramQuickStyle" Target="../diagrams/quickStyle1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9.xml"/><Relationship Id="rId11" Type="http://schemas.openxmlformats.org/officeDocument/2006/relationships/diagramLayout" Target="../diagrams/layout11.xml"/><Relationship Id="rId5" Type="http://schemas.openxmlformats.org/officeDocument/2006/relationships/slideLayout" Target="../slideLayouts/slideLayout4.xml"/><Relationship Id="rId10" Type="http://schemas.openxmlformats.org/officeDocument/2006/relationships/diagramData" Target="../diagrams/data11.xml"/><Relationship Id="rId4" Type="http://schemas.openxmlformats.org/officeDocument/2006/relationships/tags" Target="../tags/tag79.xml"/><Relationship Id="rId9" Type="http://schemas.openxmlformats.org/officeDocument/2006/relationships/image" Target="../media/image10.png"/><Relationship Id="rId14" Type="http://schemas.microsoft.com/office/2007/relationships/diagramDrawing" Target="../diagrams/drawin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Avance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Modo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Carreter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Septiembre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grpSp>
        <p:nvGrpSpPr>
          <p:cNvPr id="24" name="Grupo 23"/>
          <p:cNvGrpSpPr/>
          <p:nvPr/>
        </p:nvGrpSpPr>
        <p:grpSpPr>
          <a:xfrm>
            <a:off x="3211295" y="1402495"/>
            <a:ext cx="5423550" cy="809077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2400" kern="1200" dirty="0"/>
                <a:t>Proyecto Desarrollo Vial </a:t>
              </a:r>
              <a:r>
                <a:rPr lang="es-CO" sz="2400" i="1" kern="1200" dirty="0"/>
                <a:t>“Armenia – Pereira – Manizales”</a:t>
              </a:r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504728" y="2551814"/>
          <a:ext cx="6337935" cy="1318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2509284" y="3997842"/>
          <a:ext cx="6125561" cy="1318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55386569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grpSp>
        <p:nvGrpSpPr>
          <p:cNvPr id="24" name="Grupo 23"/>
          <p:cNvGrpSpPr/>
          <p:nvPr/>
        </p:nvGrpSpPr>
        <p:grpSpPr>
          <a:xfrm>
            <a:off x="2535382" y="1402496"/>
            <a:ext cx="5874327" cy="921600"/>
            <a:chOff x="-315695" y="153170"/>
            <a:chExt cx="5874327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-315695" y="153170"/>
              <a:ext cx="5874327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Desarrollo Vial del Norte de Bogotá - DEVINORTE</a:t>
              </a:r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178720" y="2540120"/>
          <a:ext cx="3407497" cy="22119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586217" y="4473688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0" name="Rectángulo 9"/>
          <p:cNvSpPr/>
          <p:nvPr/>
        </p:nvSpPr>
        <p:spPr>
          <a:xfrm>
            <a:off x="2411941" y="478586"/>
            <a:ext cx="662078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Á</a:t>
            </a:r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rea Metropolitana de Cúcuta</a:t>
            </a:r>
          </a:p>
        </p:txBody>
      </p:sp>
    </p:spTree>
    <p:extLst>
      <p:ext uri="{BB962C8B-B14F-4D97-AF65-F5344CB8AC3E}">
        <p14:creationId xmlns:p14="http://schemas.microsoft.com/office/powerpoint/2010/main" val="235901739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Zipaquirá – Bucaramanga (Palenque)</a:t>
              </a:r>
            </a:p>
          </p:txBody>
        </p:sp>
      </p:grpSp>
      <p:graphicFrame>
        <p:nvGraphicFramePr>
          <p:cNvPr id="28" name="Diagrama 27"/>
          <p:cNvGraphicFramePr/>
          <p:nvPr>
            <p:extLst/>
          </p:nvPr>
        </p:nvGraphicFramePr>
        <p:xfrm>
          <a:off x="2178720" y="2540120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/>
          </p:nvPr>
        </p:nvGraphicFramePr>
        <p:xfrm>
          <a:off x="5093072" y="3407225"/>
          <a:ext cx="3904878" cy="2936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54837115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6573" y="1440208"/>
            <a:ext cx="5401449" cy="43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6"/>
          <p:cNvSpPr>
            <a:spLocks noChangeArrowheads="1"/>
          </p:cNvSpPr>
          <p:nvPr/>
        </p:nvSpPr>
        <p:spPr bwMode="auto">
          <a:xfrm>
            <a:off x="1064568" y="1047024"/>
            <a:ext cx="7776864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>
                <a:effectLst/>
                <a:latin typeface="Calibri"/>
                <a:ea typeface="Times New Roman"/>
                <a:cs typeface="Times New Roman"/>
              </a:rPr>
              <a:t>AVANCES MODO CARRETERO</a:t>
            </a:r>
          </a:p>
        </p:txBody>
      </p:sp>
      <p:pic>
        <p:nvPicPr>
          <p:cNvPr id="18" name="Picture 2" descr="ANd9GcSn6SsfN0wpJ3Ic5uqInzC96o2CdasYpdBQwg3R6zdt74Oyc0EJ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52" y="2436236"/>
            <a:ext cx="3744416" cy="2759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Imagen 18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040" y="2649822"/>
            <a:ext cx="3672408" cy="25640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035117" y="1402496"/>
            <a:ext cx="5278378" cy="921600"/>
            <a:chOff x="-176178" y="153170"/>
            <a:chExt cx="5278378" cy="921600"/>
          </a:xfrm>
        </p:grpSpPr>
        <p:sp>
          <p:nvSpPr>
            <p:cNvPr id="26" name="Rectángulo 25"/>
            <p:cNvSpPr/>
            <p:nvPr/>
          </p:nvSpPr>
          <p:spPr>
            <a:xfrm>
              <a:off x="-176178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Briceño Tunja Sogamoso</a:t>
              </a:r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1708010467"/>
              </p:ext>
            </p:extLst>
          </p:nvPr>
        </p:nvGraphicFramePr>
        <p:xfrm>
          <a:off x="2504729" y="2570625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516665360"/>
              </p:ext>
            </p:extLst>
          </p:nvPr>
        </p:nvGraphicFramePr>
        <p:xfrm>
          <a:off x="5586217" y="4473688"/>
          <a:ext cx="3078812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352116765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</a:t>
              </a:r>
              <a:r>
                <a:rPr lang="es-CO" sz="3200" dirty="0"/>
                <a:t>Ruta del Sol - Sector 3</a:t>
              </a:r>
              <a:endParaRPr lang="es-CO" sz="3200" kern="1200" dirty="0"/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511709862"/>
              </p:ext>
            </p:extLst>
          </p:nvPr>
        </p:nvGraphicFramePr>
        <p:xfrm>
          <a:off x="2504728" y="2457464"/>
          <a:ext cx="3670785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9" name="Diagrama 28"/>
          <p:cNvGraphicFramePr/>
          <p:nvPr>
            <p:extLst>
              <p:ext uri="{D42A27DB-BD31-4B8C-83A1-F6EECF244321}">
                <p14:modId xmlns:p14="http://schemas.microsoft.com/office/powerpoint/2010/main" val="3343140006"/>
              </p:ext>
            </p:extLst>
          </p:nvPr>
        </p:nvGraphicFramePr>
        <p:xfrm>
          <a:off x="5615188" y="4341166"/>
          <a:ext cx="3438169" cy="1942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5466946" y="6121427"/>
            <a:ext cx="36770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/>
              <a:t>* Corte 30 de agosto de 2016</a:t>
            </a:r>
          </a:p>
        </p:txBody>
      </p:sp>
    </p:spTree>
    <p:extLst>
      <p:ext uri="{BB962C8B-B14F-4D97-AF65-F5344CB8AC3E}">
        <p14:creationId xmlns:p14="http://schemas.microsoft.com/office/powerpoint/2010/main" val="4049133680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Malla Vial del Valle del </a:t>
              </a:r>
              <a:r>
                <a:rPr lang="es-CO" sz="3200" dirty="0"/>
                <a:t>C</a:t>
              </a:r>
              <a:r>
                <a:rPr lang="es-CO" sz="3200" kern="1200" dirty="0"/>
                <a:t>auca y Cauca</a:t>
              </a:r>
            </a:p>
          </p:txBody>
        </p:sp>
      </p:grpSp>
      <p:graphicFrame>
        <p:nvGraphicFramePr>
          <p:cNvPr id="28" name="Diagrama 27"/>
          <p:cNvGraphicFramePr/>
          <p:nvPr>
            <p:extLst>
              <p:ext uri="{D42A27DB-BD31-4B8C-83A1-F6EECF244321}">
                <p14:modId xmlns:p14="http://schemas.microsoft.com/office/powerpoint/2010/main" val="369913341"/>
              </p:ext>
            </p:extLst>
          </p:nvPr>
        </p:nvGraphicFramePr>
        <p:xfrm>
          <a:off x="2504729" y="2570624"/>
          <a:ext cx="2880320" cy="24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Diagrama 10"/>
          <p:cNvGraphicFramePr/>
          <p:nvPr>
            <p:extLst>
              <p:ext uri="{D42A27DB-BD31-4B8C-83A1-F6EECF244321}">
                <p14:modId xmlns:p14="http://schemas.microsoft.com/office/powerpoint/2010/main" val="1293992907"/>
              </p:ext>
            </p:extLst>
          </p:nvPr>
        </p:nvGraphicFramePr>
        <p:xfrm>
          <a:off x="5595742" y="3664063"/>
          <a:ext cx="2880320" cy="2016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81850862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Ruta Caribe</a:t>
              </a:r>
            </a:p>
          </p:txBody>
        </p:sp>
      </p:grpSp>
      <p:graphicFrame>
        <p:nvGraphicFramePr>
          <p:cNvPr id="11" name="Diagrama 10"/>
          <p:cNvGraphicFramePr/>
          <p:nvPr>
            <p:extLst>
              <p:ext uri="{D42A27DB-BD31-4B8C-83A1-F6EECF244321}">
                <p14:modId xmlns:p14="http://schemas.microsoft.com/office/powerpoint/2010/main" val="2343207924"/>
              </p:ext>
            </p:extLst>
          </p:nvPr>
        </p:nvGraphicFramePr>
        <p:xfrm>
          <a:off x="2444610" y="2752240"/>
          <a:ext cx="2880320" cy="24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2330227428"/>
              </p:ext>
            </p:extLst>
          </p:nvPr>
        </p:nvGraphicFramePr>
        <p:xfrm>
          <a:off x="5624852" y="3684380"/>
          <a:ext cx="2880320" cy="2456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886867826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7650" name="Rectangle 3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6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2" name="Imagen 2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sp>
        <p:nvSpPr>
          <p:cNvPr id="23" name="Rectángulo 22"/>
          <p:cNvSpPr/>
          <p:nvPr/>
        </p:nvSpPr>
        <p:spPr>
          <a:xfrm>
            <a:off x="2099578" y="478586"/>
            <a:ext cx="623779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Carreter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3211295" y="1402496"/>
            <a:ext cx="5102200" cy="921600"/>
            <a:chOff x="0" y="153170"/>
            <a:chExt cx="5102200" cy="921600"/>
          </a:xfrm>
        </p:grpSpPr>
        <p:sp>
          <p:nvSpPr>
            <p:cNvPr id="26" name="Rectángulo 25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ángulo 26"/>
            <p:cNvSpPr/>
            <p:nvPr/>
          </p:nvSpPr>
          <p:spPr>
            <a:xfrm>
              <a:off x="0" y="153170"/>
              <a:ext cx="5102200" cy="9216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7584" tIns="130048" rIns="227584" bIns="130048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kern="1200" dirty="0"/>
                <a:t>Proyecto Córdoba - Sucre</a:t>
              </a:r>
            </a:p>
          </p:txBody>
        </p:sp>
      </p:grpSp>
      <p:graphicFrame>
        <p:nvGraphicFramePr>
          <p:cNvPr id="11" name="Diagrama 10"/>
          <p:cNvGraphicFramePr/>
          <p:nvPr>
            <p:extLst>
              <p:ext uri="{D42A27DB-BD31-4B8C-83A1-F6EECF244321}">
                <p14:modId xmlns:p14="http://schemas.microsoft.com/office/powerpoint/2010/main" val="2750246179"/>
              </p:ext>
            </p:extLst>
          </p:nvPr>
        </p:nvGraphicFramePr>
        <p:xfrm>
          <a:off x="2504729" y="2570624"/>
          <a:ext cx="2880320" cy="24392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1067710466"/>
              </p:ext>
            </p:extLst>
          </p:nvPr>
        </p:nvGraphicFramePr>
        <p:xfrm>
          <a:off x="5624853" y="3790251"/>
          <a:ext cx="2880320" cy="2456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81222307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26626" name="Rectangle 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sym typeface="Candara"/>
            </a:endParaRPr>
          </a:p>
        </p:txBody>
      </p:sp>
      <p:pic>
        <p:nvPicPr>
          <p:cNvPr id="28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8" cstate="print"/>
          <a:srcRect l="73616"/>
          <a:stretch>
            <a:fillRect/>
          </a:stretch>
        </p:blipFill>
        <p:spPr bwMode="auto">
          <a:xfrm>
            <a:off x="-15552" y="-43550"/>
            <a:ext cx="2160240" cy="6901550"/>
          </a:xfrm>
          <a:prstGeom prst="rect">
            <a:avLst/>
          </a:prstGeom>
          <a:noFill/>
        </p:spPr>
      </p:pic>
      <p:pic>
        <p:nvPicPr>
          <p:cNvPr id="29" name="Imagen 2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18480" y="-635902"/>
            <a:ext cx="1642662" cy="6776285"/>
          </a:xfrm>
          <a:prstGeom prst="rect">
            <a:avLst/>
          </a:prstGeom>
        </p:spPr>
      </p:pic>
      <p:graphicFrame>
        <p:nvGraphicFramePr>
          <p:cNvPr id="12" name="Diagrama 11"/>
          <p:cNvGraphicFramePr/>
          <p:nvPr>
            <p:extLst/>
          </p:nvPr>
        </p:nvGraphicFramePr>
        <p:xfrm>
          <a:off x="2340335" y="1562986"/>
          <a:ext cx="6604000" cy="5257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3" name="Rectangle 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6246" y="262340"/>
            <a:ext cx="8595361" cy="748669"/>
          </a:xfrm>
        </p:spPr>
        <p:txBody>
          <a:bodyPr/>
          <a:lstStyle/>
          <a:p>
            <a:pPr algn="ctr"/>
            <a:r>
              <a:rPr lang="es-ES" sz="280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Transversal de las </a:t>
            </a:r>
            <a:r>
              <a:rPr lang="es-ES" sz="2800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Americas</a:t>
            </a:r>
            <a:endParaRPr lang="es-ES" sz="280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51704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Zw5OffkWAiHIb.7Hy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JrEpRVGk6aEjZaNjdj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619</TotalTime>
  <Words>695</Words>
  <Application>Microsoft Office PowerPoint</Application>
  <PresentationFormat>Presentación en pantalla (4:3)</PresentationFormat>
  <Paragraphs>109</Paragraphs>
  <Slides>12</Slides>
  <Notes>12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1" baseType="lpstr">
      <vt:lpstr>MS PGothic</vt:lpstr>
      <vt:lpstr>Arial</vt:lpstr>
      <vt:lpstr>Calibri</vt:lpstr>
      <vt:lpstr>Candara</vt:lpstr>
      <vt:lpstr>Helvetica Neue Bold Condensed</vt:lpstr>
      <vt:lpstr>Impact</vt:lpstr>
      <vt:lpstr>Times New Roman</vt:lpstr>
      <vt:lpstr>plantilla ANI</vt:lpstr>
      <vt:lpstr>think-cell Slide</vt:lpstr>
      <vt:lpstr>Avances Modo Carreter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Transversal de las Americas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34</cp:revision>
  <dcterms:created xsi:type="dcterms:W3CDTF">2015-06-23T21:46:26Z</dcterms:created>
  <dcterms:modified xsi:type="dcterms:W3CDTF">2016-09-27T22:08:46Z</dcterms:modified>
</cp:coreProperties>
</file>